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2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.xml" ContentType="application/vnd.openxmlformats-officedocument.presentationml.notesSlide+xml"/>
  <Override PartName="/ppt/tags/tag127.xml" ContentType="application/vnd.openxmlformats-officedocument.presentationml.tags+xml"/>
  <Override PartName="/ppt/notesSlides/notesSlide2.xml" ContentType="application/vnd.openxmlformats-officedocument.presentationml.notesSlide+xml"/>
  <Override PartName="/ppt/tags/tag128.xml" ContentType="application/vnd.openxmlformats-officedocument.presentationml.tags+xml"/>
  <Override PartName="/ppt/notesSlides/notesSlide3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54.xml" ContentType="application/vnd.openxmlformats-officedocument.presentationml.tags+xml"/>
  <Override PartName="/ppt/notesSlides/notesSlide5.xml" ContentType="application/vnd.openxmlformats-officedocument.presentationml.notesSlide+xml"/>
  <Override PartName="/ppt/tags/tag155.xml" ContentType="application/vnd.openxmlformats-officedocument.presentationml.tags+xml"/>
  <Override PartName="/ppt/notesSlides/notesSlide6.xml" ContentType="application/vnd.openxmlformats-officedocument.presentationml.notesSlide+xml"/>
  <Override PartName="/ppt/tags/tag156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1" r:id="rId4"/>
    <p:sldMasterId id="2147483783" r:id="rId5"/>
  </p:sldMasterIdLst>
  <p:notesMasterIdLst>
    <p:notesMasterId r:id="rId15"/>
  </p:notesMasterIdLst>
  <p:handoutMasterIdLst>
    <p:handoutMasterId r:id="rId16"/>
  </p:handoutMasterIdLst>
  <p:sldIdLst>
    <p:sldId id="2147471815" r:id="rId6"/>
    <p:sldId id="2147471875" r:id="rId7"/>
    <p:sldId id="2147471865" r:id="rId8"/>
    <p:sldId id="2147471879" r:id="rId9"/>
    <p:sldId id="2147471866" r:id="rId10"/>
    <p:sldId id="2147471877" r:id="rId11"/>
    <p:sldId id="2147471878" r:id="rId12"/>
    <p:sldId id="2147471880" r:id="rId13"/>
    <p:sldId id="2147471871" r:id="rId14"/>
  </p:sldIdLst>
  <p:sldSz cx="12188825" cy="6858000"/>
  <p:notesSz cx="6797675" cy="992822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5" pos="279">
          <p15:clr>
            <a:srgbClr val="A4A3A4"/>
          </p15:clr>
        </p15:guide>
        <p15:guide id="6" pos="7406">
          <p15:clr>
            <a:srgbClr val="A4A3A4"/>
          </p15:clr>
        </p15:guide>
        <p15:guide id="7" orient="horz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0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ECF0"/>
    <a:srgbClr val="EBF7FF"/>
    <a:srgbClr val="0000C9"/>
    <a:srgbClr val="E1F5FF"/>
    <a:srgbClr val="6F8DB9"/>
    <a:srgbClr val="0047BB"/>
    <a:srgbClr val="4C6C9C"/>
    <a:srgbClr val="F9E7EC"/>
    <a:srgbClr val="FFFCE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FD650AF-9D73-49BA-A1AF-68738D417694}" v="682" dt="2026-06-05T02:58:41.2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799" autoAdjust="0"/>
    <p:restoredTop sz="94397" autoAdjust="0"/>
  </p:normalViewPr>
  <p:slideViewPr>
    <p:cSldViewPr snapToGrid="0" snapToObjects="1">
      <p:cViewPr varScale="1">
        <p:scale>
          <a:sx n="74" d="100"/>
          <a:sy n="74" d="100"/>
        </p:scale>
        <p:origin x="728" y="52"/>
      </p:cViewPr>
      <p:guideLst>
        <p:guide pos="3840"/>
        <p:guide pos="279"/>
        <p:guide pos="7406"/>
        <p:guide orient="horz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200"/>
    </p:cViewPr>
  </p:sorterViewPr>
  <p:notesViewPr>
    <p:cSldViewPr snapToGrid="0" snapToObjects="1">
      <p:cViewPr varScale="1">
        <p:scale>
          <a:sx n="47" d="100"/>
          <a:sy n="47" d="100"/>
        </p:scale>
        <p:origin x="2712" y="56"/>
      </p:cViewPr>
      <p:guideLst>
        <p:guide orient="horz" pos="3070"/>
        <p:guide pos="2141"/>
        <p:guide orient="horz" pos="31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, LINNA" userId="54afc4c3-8311-41ae-a226-e4adb1df9f4e" providerId="ADAL" clId="{ABDD4408-4852-457C-9572-C36DA953DEB6}"/>
    <pc:docChg chg="delSld modSld">
      <pc:chgData name="NA, LINNA" userId="54afc4c3-8311-41ae-a226-e4adb1df9f4e" providerId="ADAL" clId="{ABDD4408-4852-457C-9572-C36DA953DEB6}" dt="2026-06-05T04:55:36.466" v="16" actId="207"/>
      <pc:docMkLst>
        <pc:docMk/>
      </pc:docMkLst>
      <pc:sldChg chg="modSp mod">
        <pc:chgData name="NA, LINNA" userId="54afc4c3-8311-41ae-a226-e4adb1df9f4e" providerId="ADAL" clId="{ABDD4408-4852-457C-9572-C36DA953DEB6}" dt="2026-06-05T04:55:36.466" v="16" actId="207"/>
        <pc:sldMkLst>
          <pc:docMk/>
          <pc:sldMk cId="1194490107" sldId="2147471815"/>
        </pc:sldMkLst>
        <pc:spChg chg="mod">
          <ac:chgData name="NA, LINNA" userId="54afc4c3-8311-41ae-a226-e4adb1df9f4e" providerId="ADAL" clId="{ABDD4408-4852-457C-9572-C36DA953DEB6}" dt="2026-06-05T04:55:36.466" v="16" actId="207"/>
          <ac:spMkLst>
            <pc:docMk/>
            <pc:sldMk cId="1194490107" sldId="2147471815"/>
            <ac:spMk id="2" creationId="{1347834D-FCDF-AC28-0263-947ECF36811F}"/>
          </ac:spMkLst>
        </pc:spChg>
      </pc:sldChg>
      <pc:sldChg chg="modSp mod">
        <pc:chgData name="NA, LINNA" userId="54afc4c3-8311-41ae-a226-e4adb1df9f4e" providerId="ADAL" clId="{ABDD4408-4852-457C-9572-C36DA953DEB6}" dt="2026-06-05T04:50:22.963" v="15" actId="20577"/>
        <pc:sldMkLst>
          <pc:docMk/>
          <pc:sldMk cId="1234649035" sldId="2147471871"/>
        </pc:sldMkLst>
        <pc:spChg chg="mod">
          <ac:chgData name="NA, LINNA" userId="54afc4c3-8311-41ae-a226-e4adb1df9f4e" providerId="ADAL" clId="{ABDD4408-4852-457C-9572-C36DA953DEB6}" dt="2026-06-05T04:50:22.963" v="15" actId="20577"/>
          <ac:spMkLst>
            <pc:docMk/>
            <pc:sldMk cId="1234649035" sldId="2147471871"/>
            <ac:spMk id="4" creationId="{6FDD359F-FA2F-B2C8-AFAC-AAD971FAF617}"/>
          </ac:spMkLst>
        </pc:spChg>
      </pc:sldChg>
      <pc:sldChg chg="del">
        <pc:chgData name="NA, LINNA" userId="54afc4c3-8311-41ae-a226-e4adb1df9f4e" providerId="ADAL" clId="{ABDD4408-4852-457C-9572-C36DA953DEB6}" dt="2026-06-05T04:49:08.625" v="6" actId="47"/>
        <pc:sldMkLst>
          <pc:docMk/>
          <pc:sldMk cId="994271888" sldId="2147471872"/>
        </pc:sldMkLst>
      </pc:sldChg>
      <pc:sldChg chg="del">
        <pc:chgData name="NA, LINNA" userId="54afc4c3-8311-41ae-a226-e4adb1df9f4e" providerId="ADAL" clId="{ABDD4408-4852-457C-9572-C36DA953DEB6}" dt="2026-06-05T04:49:08.625" v="6" actId="47"/>
        <pc:sldMkLst>
          <pc:docMk/>
          <pc:sldMk cId="1877642878" sldId="2147471873"/>
        </pc:sldMkLst>
      </pc:sldChg>
    </pc:docChg>
  </pc:docChgLst>
  <pc:docChgLst>
    <pc:chgData name="Sun, Wenlu" userId="53fe643b-d433-46a7-aebc-e8f4cd540df3" providerId="ADAL" clId="{9BC934C4-48EC-41BC-A2E5-682113C5B5A5}"/>
    <pc:docChg chg="undo redo custSel modSld sldOrd">
      <pc:chgData name="Sun, Wenlu" userId="53fe643b-d433-46a7-aebc-e8f4cd540df3" providerId="ADAL" clId="{9BC934C4-48EC-41BC-A2E5-682113C5B5A5}" dt="2026-06-05T03:32:18.547" v="11796" actId="20577"/>
      <pc:docMkLst>
        <pc:docMk/>
      </pc:docMkLst>
      <pc:sldChg chg="modSp mod">
        <pc:chgData name="Sun, Wenlu" userId="53fe643b-d433-46a7-aebc-e8f4cd540df3" providerId="ADAL" clId="{9BC934C4-48EC-41BC-A2E5-682113C5B5A5}" dt="2026-06-03T01:33:24.652" v="7600" actId="207"/>
        <pc:sldMkLst>
          <pc:docMk/>
          <pc:sldMk cId="1194490107" sldId="2147471815"/>
        </pc:sldMkLst>
        <pc:spChg chg="mod">
          <ac:chgData name="Sun, Wenlu" userId="53fe643b-d433-46a7-aebc-e8f4cd540df3" providerId="ADAL" clId="{9BC934C4-48EC-41BC-A2E5-682113C5B5A5}" dt="2026-06-03T01:33:24.652" v="7600" actId="207"/>
          <ac:spMkLst>
            <pc:docMk/>
            <pc:sldMk cId="1194490107" sldId="2147471815"/>
            <ac:spMk id="4" creationId="{F00734E5-EEC2-D624-8064-88B158253FDE}"/>
          </ac:spMkLst>
        </pc:spChg>
      </pc:sldChg>
      <pc:sldChg chg="addSp delSp modSp mod ord">
        <pc:chgData name="Sun, Wenlu" userId="53fe643b-d433-46a7-aebc-e8f4cd540df3" providerId="ADAL" clId="{9BC934C4-48EC-41BC-A2E5-682113C5B5A5}" dt="2026-06-03T01:34:35.241" v="7610" actId="1035"/>
        <pc:sldMkLst>
          <pc:docMk/>
          <pc:sldMk cId="2975692218" sldId="2147471865"/>
        </pc:sldMkLst>
        <pc:spChg chg="mod ord">
          <ac:chgData name="Sun, Wenlu" userId="53fe643b-d433-46a7-aebc-e8f4cd540df3" providerId="ADAL" clId="{9BC934C4-48EC-41BC-A2E5-682113C5B5A5}" dt="2026-06-02T05:32:58.264" v="5695" actId="299"/>
          <ac:spMkLst>
            <pc:docMk/>
            <pc:sldMk cId="2975692218" sldId="2147471865"/>
            <ac:spMk id="5" creationId="{C6F1B2D2-0710-72CC-0699-CDE0E69E4B9C}"/>
          </ac:spMkLst>
        </pc:spChg>
        <pc:spChg chg="mod topLvl">
          <ac:chgData name="Sun, Wenlu" userId="53fe643b-d433-46a7-aebc-e8f4cd540df3" providerId="ADAL" clId="{9BC934C4-48EC-41BC-A2E5-682113C5B5A5}" dt="2026-06-03T01:34:35.241" v="7610" actId="1035"/>
          <ac:spMkLst>
            <pc:docMk/>
            <pc:sldMk cId="2975692218" sldId="2147471865"/>
            <ac:spMk id="6" creationId="{549881B8-1329-32D1-E8E4-EB27D1D03FE3}"/>
          </ac:spMkLst>
        </pc:spChg>
        <pc:spChg chg="add mod ord">
          <ac:chgData name="Sun, Wenlu" userId="53fe643b-d433-46a7-aebc-e8f4cd540df3" providerId="ADAL" clId="{9BC934C4-48EC-41BC-A2E5-682113C5B5A5}" dt="2026-05-27T05:44:11.251" v="5338" actId="122"/>
          <ac:spMkLst>
            <pc:docMk/>
            <pc:sldMk cId="2975692218" sldId="2147471865"/>
            <ac:spMk id="7" creationId="{1DA59343-34B7-665F-BE52-73A4328AF202}"/>
          </ac:spMkLst>
        </pc:spChg>
        <pc:spChg chg="mod ord">
          <ac:chgData name="Sun, Wenlu" userId="53fe643b-d433-46a7-aebc-e8f4cd540df3" providerId="ADAL" clId="{9BC934C4-48EC-41BC-A2E5-682113C5B5A5}" dt="2026-06-02T06:27:00.574" v="7586" actId="1036"/>
          <ac:spMkLst>
            <pc:docMk/>
            <pc:sldMk cId="2975692218" sldId="2147471865"/>
            <ac:spMk id="42" creationId="{38BFC990-E703-12D2-CD28-7023F1FFBA9D}"/>
          </ac:spMkLst>
        </pc:spChg>
        <pc:spChg chg="mod ord">
          <ac:chgData name="Sun, Wenlu" userId="53fe643b-d433-46a7-aebc-e8f4cd540df3" providerId="ADAL" clId="{9BC934C4-48EC-41BC-A2E5-682113C5B5A5}" dt="2026-05-27T05:42:07.221" v="5283"/>
          <ac:spMkLst>
            <pc:docMk/>
            <pc:sldMk cId="2975692218" sldId="2147471865"/>
            <ac:spMk id="481" creationId="{B6A3AE0D-2A11-7A7A-D87F-6CDE1E996B56}"/>
          </ac:spMkLst>
        </pc:spChg>
        <pc:graphicFrameChg chg="mod">
          <ac:chgData name="Sun, Wenlu" userId="53fe643b-d433-46a7-aebc-e8f4cd540df3" providerId="ADAL" clId="{9BC934C4-48EC-41BC-A2E5-682113C5B5A5}" dt="2026-05-27T05:42:07.235" v="5295"/>
          <ac:graphicFrameMkLst>
            <pc:docMk/>
            <pc:sldMk cId="2975692218" sldId="2147471865"/>
            <ac:graphicFrameMk id="3" creationId="{AFD9BE15-CEBD-A8F3-4CAB-F522C05F564D}"/>
          </ac:graphicFrameMkLst>
        </pc:graphicFrameChg>
        <pc:graphicFrameChg chg="mod ord modGraphic">
          <ac:chgData name="Sun, Wenlu" userId="53fe643b-d433-46a7-aebc-e8f4cd540df3" providerId="ADAL" clId="{9BC934C4-48EC-41BC-A2E5-682113C5B5A5}" dt="2026-06-03T01:34:35.241" v="7610" actId="1035"/>
          <ac:graphicFrameMkLst>
            <pc:docMk/>
            <pc:sldMk cId="2975692218" sldId="2147471865"/>
            <ac:graphicFrameMk id="37" creationId="{06BA8368-A326-0EBF-CCDD-6B8A77B2E3B8}"/>
          </ac:graphicFrameMkLst>
        </pc:graphicFrameChg>
      </pc:sldChg>
      <pc:sldChg chg="addSp delSp modSp mod">
        <pc:chgData name="Sun, Wenlu" userId="53fe643b-d433-46a7-aebc-e8f4cd540df3" providerId="ADAL" clId="{9BC934C4-48EC-41BC-A2E5-682113C5B5A5}" dt="2026-06-04T10:05:51.393" v="9978" actId="20577"/>
        <pc:sldMkLst>
          <pc:docMk/>
          <pc:sldMk cId="1880038688" sldId="2147471866"/>
        </pc:sldMkLst>
        <pc:spChg chg="mod">
          <ac:chgData name="Sun, Wenlu" userId="53fe643b-d433-46a7-aebc-e8f4cd540df3" providerId="ADAL" clId="{9BC934C4-48EC-41BC-A2E5-682113C5B5A5}" dt="2026-06-04T10:04:50.513" v="9955" actId="948"/>
          <ac:spMkLst>
            <pc:docMk/>
            <pc:sldMk cId="1880038688" sldId="2147471866"/>
            <ac:spMk id="2" creationId="{C83483A4-B48E-E27A-50D4-0F5F6BC6300F}"/>
          </ac:spMkLst>
        </pc:spChg>
        <pc:spChg chg="mod">
          <ac:chgData name="Sun, Wenlu" userId="53fe643b-d433-46a7-aebc-e8f4cd540df3" providerId="ADAL" clId="{9BC934C4-48EC-41BC-A2E5-682113C5B5A5}" dt="2026-06-04T10:05:51.393" v="9978" actId="20577"/>
          <ac:spMkLst>
            <pc:docMk/>
            <pc:sldMk cId="1880038688" sldId="2147471866"/>
            <ac:spMk id="4" creationId="{7DDAC911-3758-BC79-D3AD-40B8D5769851}"/>
          </ac:spMkLst>
        </pc:spChg>
        <pc:spChg chg="mod">
          <ac:chgData name="Sun, Wenlu" userId="53fe643b-d433-46a7-aebc-e8f4cd540df3" providerId="ADAL" clId="{9BC934C4-48EC-41BC-A2E5-682113C5B5A5}" dt="2026-06-02T05:39:10.153" v="5815" actId="299"/>
          <ac:spMkLst>
            <pc:docMk/>
            <pc:sldMk cId="1880038688" sldId="2147471866"/>
            <ac:spMk id="5" creationId="{8AA0223F-DE3A-C711-DA4B-93C98841A2BA}"/>
          </ac:spMkLst>
        </pc:spChg>
        <pc:spChg chg="mod">
          <ac:chgData name="Sun, Wenlu" userId="53fe643b-d433-46a7-aebc-e8f4cd540df3" providerId="ADAL" clId="{9BC934C4-48EC-41BC-A2E5-682113C5B5A5}" dt="2026-06-02T05:39:21.349" v="5827" actId="1035"/>
          <ac:spMkLst>
            <pc:docMk/>
            <pc:sldMk cId="1880038688" sldId="2147471866"/>
            <ac:spMk id="7" creationId="{EA8569F5-D80C-786E-AFAC-68D7E22249E1}"/>
          </ac:spMkLst>
        </pc:spChg>
        <pc:spChg chg="mod">
          <ac:chgData name="Sun, Wenlu" userId="53fe643b-d433-46a7-aebc-e8f4cd540df3" providerId="ADAL" clId="{9BC934C4-48EC-41BC-A2E5-682113C5B5A5}" dt="2026-06-02T05:39:21.349" v="5827" actId="1035"/>
          <ac:spMkLst>
            <pc:docMk/>
            <pc:sldMk cId="1880038688" sldId="2147471866"/>
            <ac:spMk id="8" creationId="{5E552EA3-E0AA-1766-6F1C-152444A1B538}"/>
          </ac:spMkLst>
        </pc:spChg>
        <pc:spChg chg="mod">
          <ac:chgData name="Sun, Wenlu" userId="53fe643b-d433-46a7-aebc-e8f4cd540df3" providerId="ADAL" clId="{9BC934C4-48EC-41BC-A2E5-682113C5B5A5}" dt="2026-06-02T06:25:18.047" v="7546" actId="1076"/>
          <ac:spMkLst>
            <pc:docMk/>
            <pc:sldMk cId="1880038688" sldId="2147471866"/>
            <ac:spMk id="9" creationId="{DF8A7B08-9850-EA45-0F38-248D31A6E311}"/>
          </ac:spMkLst>
        </pc:spChg>
        <pc:spChg chg="mod">
          <ac:chgData name="Sun, Wenlu" userId="53fe643b-d433-46a7-aebc-e8f4cd540df3" providerId="ADAL" clId="{9BC934C4-48EC-41BC-A2E5-682113C5B5A5}" dt="2026-06-02T05:39:21.349" v="5827" actId="1035"/>
          <ac:spMkLst>
            <pc:docMk/>
            <pc:sldMk cId="1880038688" sldId="2147471866"/>
            <ac:spMk id="11" creationId="{C9AC5584-F417-22D0-C1C0-19DFEE39A0F8}"/>
          </ac:spMkLst>
        </pc:spChg>
        <pc:spChg chg="mod">
          <ac:chgData name="Sun, Wenlu" userId="53fe643b-d433-46a7-aebc-e8f4cd540df3" providerId="ADAL" clId="{9BC934C4-48EC-41BC-A2E5-682113C5B5A5}" dt="2026-06-02T05:39:21.349" v="5827" actId="1035"/>
          <ac:spMkLst>
            <pc:docMk/>
            <pc:sldMk cId="1880038688" sldId="2147471866"/>
            <ac:spMk id="12" creationId="{BB34D335-8EAC-69FD-96F3-CF64DF3D5499}"/>
          </ac:spMkLst>
        </pc:spChg>
        <pc:spChg chg="mod">
          <ac:chgData name="Sun, Wenlu" userId="53fe643b-d433-46a7-aebc-e8f4cd540df3" providerId="ADAL" clId="{9BC934C4-48EC-41BC-A2E5-682113C5B5A5}" dt="2026-06-02T05:39:21.349" v="5827" actId="1035"/>
          <ac:spMkLst>
            <pc:docMk/>
            <pc:sldMk cId="1880038688" sldId="2147471866"/>
            <ac:spMk id="13" creationId="{2F71E648-BB40-78BC-B6EF-8247B59FE6CC}"/>
          </ac:spMkLst>
        </pc:spChg>
        <pc:spChg chg="add mod">
          <ac:chgData name="Sun, Wenlu" userId="53fe643b-d433-46a7-aebc-e8f4cd540df3" providerId="ADAL" clId="{9BC934C4-48EC-41BC-A2E5-682113C5B5A5}" dt="2026-05-27T06:18:35.382" v="5443" actId="122"/>
          <ac:spMkLst>
            <pc:docMk/>
            <pc:sldMk cId="1880038688" sldId="2147471866"/>
            <ac:spMk id="17" creationId="{FAB5D779-7981-A258-09E3-22DC7A69C75B}"/>
          </ac:spMkLst>
        </pc:spChg>
        <pc:spChg chg="mod">
          <ac:chgData name="Sun, Wenlu" userId="53fe643b-d433-46a7-aebc-e8f4cd540df3" providerId="ADAL" clId="{9BC934C4-48EC-41BC-A2E5-682113C5B5A5}" dt="2026-06-02T05:39:21.349" v="5827" actId="1035"/>
          <ac:spMkLst>
            <pc:docMk/>
            <pc:sldMk cId="1880038688" sldId="2147471866"/>
            <ac:spMk id="19" creationId="{82ABC0AF-385E-040D-D737-81A7E06FD642}"/>
          </ac:spMkLst>
        </pc:spChg>
        <pc:spChg chg="mod">
          <ac:chgData name="Sun, Wenlu" userId="53fe643b-d433-46a7-aebc-e8f4cd540df3" providerId="ADAL" clId="{9BC934C4-48EC-41BC-A2E5-682113C5B5A5}" dt="2026-06-02T05:39:21.349" v="5827" actId="1035"/>
          <ac:spMkLst>
            <pc:docMk/>
            <pc:sldMk cId="1880038688" sldId="2147471866"/>
            <ac:spMk id="36" creationId="{6AEF9964-A33D-D06E-7BBD-51662576B31A}"/>
          </ac:spMkLst>
        </pc:spChg>
        <pc:spChg chg="mod">
          <ac:chgData name="Sun, Wenlu" userId="53fe643b-d433-46a7-aebc-e8f4cd540df3" providerId="ADAL" clId="{9BC934C4-48EC-41BC-A2E5-682113C5B5A5}" dt="2026-06-04T10:05:46.568" v="9975" actId="20577"/>
          <ac:spMkLst>
            <pc:docMk/>
            <pc:sldMk cId="1880038688" sldId="2147471866"/>
            <ac:spMk id="41" creationId="{7D8D64CA-E306-D9DF-8477-38A6BB60989B}"/>
          </ac:spMkLst>
        </pc:spChg>
        <pc:spChg chg="mod">
          <ac:chgData name="Sun, Wenlu" userId="53fe643b-d433-46a7-aebc-e8f4cd540df3" providerId="ADAL" clId="{9BC934C4-48EC-41BC-A2E5-682113C5B5A5}" dt="2026-06-04T10:05:20.008" v="9969" actId="3064"/>
          <ac:spMkLst>
            <pc:docMk/>
            <pc:sldMk cId="1880038688" sldId="2147471866"/>
            <ac:spMk id="49" creationId="{46A31E13-F2B8-FF35-1A11-C56317B5DA14}"/>
          </ac:spMkLst>
        </pc:spChg>
        <pc:spChg chg="mod">
          <ac:chgData name="Sun, Wenlu" userId="53fe643b-d433-46a7-aebc-e8f4cd540df3" providerId="ADAL" clId="{9BC934C4-48EC-41BC-A2E5-682113C5B5A5}" dt="2026-06-04T10:05:20.008" v="9969" actId="3064"/>
          <ac:spMkLst>
            <pc:docMk/>
            <pc:sldMk cId="1880038688" sldId="2147471866"/>
            <ac:spMk id="50" creationId="{BA768A88-0470-2D93-B6C0-F29BF34D65FC}"/>
          </ac:spMkLst>
        </pc:spChg>
        <pc:spChg chg="mod">
          <ac:chgData name="Sun, Wenlu" userId="53fe643b-d433-46a7-aebc-e8f4cd540df3" providerId="ADAL" clId="{9BC934C4-48EC-41BC-A2E5-682113C5B5A5}" dt="2026-06-04T10:05:14.524" v="9963" actId="3064"/>
          <ac:spMkLst>
            <pc:docMk/>
            <pc:sldMk cId="1880038688" sldId="2147471866"/>
            <ac:spMk id="51" creationId="{CB17B6EB-FBAC-D441-A2D7-C6AF550336DA}"/>
          </ac:spMkLst>
        </pc:spChg>
        <pc:spChg chg="mod">
          <ac:chgData name="Sun, Wenlu" userId="53fe643b-d433-46a7-aebc-e8f4cd540df3" providerId="ADAL" clId="{9BC934C4-48EC-41BC-A2E5-682113C5B5A5}" dt="2026-06-02T05:39:21.349" v="5827" actId="1035"/>
          <ac:spMkLst>
            <pc:docMk/>
            <pc:sldMk cId="1880038688" sldId="2147471866"/>
            <ac:spMk id="464" creationId="{D9F0D6E3-36AF-09D8-4DC6-937B8DED4AF6}"/>
          </ac:spMkLst>
        </pc:spChg>
        <pc:spChg chg="mod">
          <ac:chgData name="Sun, Wenlu" userId="53fe643b-d433-46a7-aebc-e8f4cd540df3" providerId="ADAL" clId="{9BC934C4-48EC-41BC-A2E5-682113C5B5A5}" dt="2026-06-02T05:39:21.349" v="5827" actId="1035"/>
          <ac:spMkLst>
            <pc:docMk/>
            <pc:sldMk cId="1880038688" sldId="2147471866"/>
            <ac:spMk id="465" creationId="{28EA07B7-EB96-58CC-767F-F580E28D69C7}"/>
          </ac:spMkLst>
        </pc:spChg>
        <pc:graphicFrameChg chg="mod">
          <ac:chgData name="Sun, Wenlu" userId="53fe643b-d433-46a7-aebc-e8f4cd540df3" providerId="ADAL" clId="{9BC934C4-48EC-41BC-A2E5-682113C5B5A5}" dt="2026-06-04T01:40:00.599" v="9942"/>
          <ac:graphicFrameMkLst>
            <pc:docMk/>
            <pc:sldMk cId="1880038688" sldId="2147471866"/>
            <ac:graphicFrameMk id="3" creationId="{885F047C-6090-9CB3-9343-1D6592518793}"/>
          </ac:graphicFrameMkLst>
        </pc:graphicFrameChg>
      </pc:sldChg>
      <pc:sldChg chg="addSp delSp modSp mod">
        <pc:chgData name="Sun, Wenlu" userId="53fe643b-d433-46a7-aebc-e8f4cd540df3" providerId="ADAL" clId="{9BC934C4-48EC-41BC-A2E5-682113C5B5A5}" dt="2026-06-05T03:32:18.547" v="11796" actId="20577"/>
        <pc:sldMkLst>
          <pc:docMk/>
          <pc:sldMk cId="1234649035" sldId="2147471871"/>
        </pc:sldMkLst>
        <pc:spChg chg="mod">
          <ac:chgData name="Sun, Wenlu" userId="53fe643b-d433-46a7-aebc-e8f4cd540df3" providerId="ADAL" clId="{9BC934C4-48EC-41BC-A2E5-682113C5B5A5}" dt="2026-06-04T10:09:54.037" v="10679" actId="313"/>
          <ac:spMkLst>
            <pc:docMk/>
            <pc:sldMk cId="1234649035" sldId="2147471871"/>
            <ac:spMk id="2" creationId="{A6243A5F-C65C-1134-0F3D-17C43FB9E4FF}"/>
          </ac:spMkLst>
        </pc:spChg>
        <pc:spChg chg="add mod">
          <ac:chgData name="Sun, Wenlu" userId="53fe643b-d433-46a7-aebc-e8f4cd540df3" providerId="ADAL" clId="{9BC934C4-48EC-41BC-A2E5-682113C5B5A5}" dt="2026-05-27T06:19:08.889" v="5451" actId="122"/>
          <ac:spMkLst>
            <pc:docMk/>
            <pc:sldMk cId="1234649035" sldId="2147471871"/>
            <ac:spMk id="4" creationId="{6FDD359F-FA2F-B2C8-AFAC-AAD971FAF617}"/>
          </ac:spMkLst>
        </pc:spChg>
        <pc:spChg chg="mod topLvl">
          <ac:chgData name="Sun, Wenlu" userId="53fe643b-d433-46a7-aebc-e8f4cd540df3" providerId="ADAL" clId="{9BC934C4-48EC-41BC-A2E5-682113C5B5A5}" dt="2026-06-04T10:09:28.964" v="10676" actId="165"/>
          <ac:spMkLst>
            <pc:docMk/>
            <pc:sldMk cId="1234649035" sldId="2147471871"/>
            <ac:spMk id="6" creationId="{47D4E149-F0E9-F89C-32C6-970FA193449A}"/>
          </ac:spMkLst>
        </pc:spChg>
        <pc:spChg chg="mod topLvl">
          <ac:chgData name="Sun, Wenlu" userId="53fe643b-d433-46a7-aebc-e8f4cd540df3" providerId="ADAL" clId="{9BC934C4-48EC-41BC-A2E5-682113C5B5A5}" dt="2026-06-04T10:10:44.257" v="10688" actId="3064"/>
          <ac:spMkLst>
            <pc:docMk/>
            <pc:sldMk cId="1234649035" sldId="2147471871"/>
            <ac:spMk id="8" creationId="{9B4A1494-0DCF-CA45-368E-F525C16191D8}"/>
          </ac:spMkLst>
        </pc:spChg>
        <pc:spChg chg="mod">
          <ac:chgData name="Sun, Wenlu" userId="53fe643b-d433-46a7-aebc-e8f4cd540df3" providerId="ADAL" clId="{9BC934C4-48EC-41BC-A2E5-682113C5B5A5}" dt="2026-06-02T05:49:31.260" v="6553" actId="207"/>
          <ac:spMkLst>
            <pc:docMk/>
            <pc:sldMk cId="1234649035" sldId="2147471871"/>
            <ac:spMk id="9" creationId="{0C5D2AA4-1124-FD51-B4E4-C3B3C7E08FB0}"/>
          </ac:spMkLst>
        </pc:spChg>
        <pc:spChg chg="mod topLvl">
          <ac:chgData name="Sun, Wenlu" userId="53fe643b-d433-46a7-aebc-e8f4cd540df3" providerId="ADAL" clId="{9BC934C4-48EC-41BC-A2E5-682113C5B5A5}" dt="2026-06-04T10:09:28.964" v="10676" actId="165"/>
          <ac:spMkLst>
            <pc:docMk/>
            <pc:sldMk cId="1234649035" sldId="2147471871"/>
            <ac:spMk id="11" creationId="{3CA96D11-5A60-FE33-BE0E-D02D85935739}"/>
          </ac:spMkLst>
        </pc:spChg>
        <pc:spChg chg="mod topLvl">
          <ac:chgData name="Sun, Wenlu" userId="53fe643b-d433-46a7-aebc-e8f4cd540df3" providerId="ADAL" clId="{9BC934C4-48EC-41BC-A2E5-682113C5B5A5}" dt="2026-06-04T10:10:44.257" v="10688" actId="3064"/>
          <ac:spMkLst>
            <pc:docMk/>
            <pc:sldMk cId="1234649035" sldId="2147471871"/>
            <ac:spMk id="12" creationId="{3C3BA986-2823-9460-35A4-815B5FC9EF19}"/>
          </ac:spMkLst>
        </pc:spChg>
        <pc:spChg chg="mod topLvl">
          <ac:chgData name="Sun, Wenlu" userId="53fe643b-d433-46a7-aebc-e8f4cd540df3" providerId="ADAL" clId="{9BC934C4-48EC-41BC-A2E5-682113C5B5A5}" dt="2026-06-04T10:09:28.964" v="10676" actId="165"/>
          <ac:spMkLst>
            <pc:docMk/>
            <pc:sldMk cId="1234649035" sldId="2147471871"/>
            <ac:spMk id="14" creationId="{ECF3A53E-264F-B4EA-44A0-4DFADD27FE9A}"/>
          </ac:spMkLst>
        </pc:spChg>
        <pc:spChg chg="mod topLvl">
          <ac:chgData name="Sun, Wenlu" userId="53fe643b-d433-46a7-aebc-e8f4cd540df3" providerId="ADAL" clId="{9BC934C4-48EC-41BC-A2E5-682113C5B5A5}" dt="2026-06-05T03:32:18.547" v="11796" actId="20577"/>
          <ac:spMkLst>
            <pc:docMk/>
            <pc:sldMk cId="1234649035" sldId="2147471871"/>
            <ac:spMk id="15" creationId="{7103CDB5-5E35-1CBA-8785-C0AA98C0D0DB}"/>
          </ac:spMkLst>
        </pc:spChg>
        <pc:spChg chg="mod topLvl">
          <ac:chgData name="Sun, Wenlu" userId="53fe643b-d433-46a7-aebc-e8f4cd540df3" providerId="ADAL" clId="{9BC934C4-48EC-41BC-A2E5-682113C5B5A5}" dt="2026-06-04T10:09:28.964" v="10676" actId="165"/>
          <ac:spMkLst>
            <pc:docMk/>
            <pc:sldMk cId="1234649035" sldId="2147471871"/>
            <ac:spMk id="17" creationId="{EC9C6A16-092C-1E8A-CFA0-D5856B68B9C2}"/>
          </ac:spMkLst>
        </pc:spChg>
        <pc:spChg chg="mod topLvl">
          <ac:chgData name="Sun, Wenlu" userId="53fe643b-d433-46a7-aebc-e8f4cd540df3" providerId="ADAL" clId="{9BC934C4-48EC-41BC-A2E5-682113C5B5A5}" dt="2026-06-04T10:10:44.257" v="10688" actId="3064"/>
          <ac:spMkLst>
            <pc:docMk/>
            <pc:sldMk cId="1234649035" sldId="2147471871"/>
            <ac:spMk id="18" creationId="{FC40AA95-8E3F-6F2F-53DE-4D9B67AA0E0E}"/>
          </ac:spMkLst>
        </pc:spChg>
        <pc:grpChg chg="del">
          <ac:chgData name="Sun, Wenlu" userId="53fe643b-d433-46a7-aebc-e8f4cd540df3" providerId="ADAL" clId="{9BC934C4-48EC-41BC-A2E5-682113C5B5A5}" dt="2026-06-04T10:09:28.964" v="10676" actId="165"/>
          <ac:grpSpMkLst>
            <pc:docMk/>
            <pc:sldMk cId="1234649035" sldId="2147471871"/>
            <ac:grpSpMk id="5" creationId="{9300AD89-5FAD-879A-4281-846DC07F4F12}"/>
          </ac:grpSpMkLst>
        </pc:grpChg>
        <pc:grpChg chg="del">
          <ac:chgData name="Sun, Wenlu" userId="53fe643b-d433-46a7-aebc-e8f4cd540df3" providerId="ADAL" clId="{9BC934C4-48EC-41BC-A2E5-682113C5B5A5}" dt="2026-06-04T10:09:28.964" v="10676" actId="165"/>
          <ac:grpSpMkLst>
            <pc:docMk/>
            <pc:sldMk cId="1234649035" sldId="2147471871"/>
            <ac:grpSpMk id="13" creationId="{D8990188-924F-A822-8425-B1BF1505F399}"/>
          </ac:grpSpMkLst>
        </pc:grpChg>
        <pc:graphicFrameChg chg="mod">
          <ac:chgData name="Sun, Wenlu" userId="53fe643b-d433-46a7-aebc-e8f4cd540df3" providerId="ADAL" clId="{9BC934C4-48EC-41BC-A2E5-682113C5B5A5}" dt="2026-06-04T01:40:00.614" v="9944"/>
          <ac:graphicFrameMkLst>
            <pc:docMk/>
            <pc:sldMk cId="1234649035" sldId="2147471871"/>
            <ac:graphicFrameMk id="3" creationId="{E6A14181-0811-6254-4B6A-FFFB3BDAB538}"/>
          </ac:graphicFrameMkLst>
        </pc:graphicFrameChg>
      </pc:sldChg>
      <pc:sldChg chg="addSp delSp modSp mod">
        <pc:chgData name="Sun, Wenlu" userId="53fe643b-d433-46a7-aebc-e8f4cd540df3" providerId="ADAL" clId="{9BC934C4-48EC-41BC-A2E5-682113C5B5A5}" dt="2026-06-05T02:37:34.102" v="11601" actId="20577"/>
        <pc:sldMkLst>
          <pc:docMk/>
          <pc:sldMk cId="994271888" sldId="2147471872"/>
        </pc:sldMkLst>
        <pc:spChg chg="add mod ord">
          <ac:chgData name="Sun, Wenlu" userId="53fe643b-d433-46a7-aebc-e8f4cd540df3" providerId="ADAL" clId="{9BC934C4-48EC-41BC-A2E5-682113C5B5A5}" dt="2026-06-04T10:13:30.903" v="11035"/>
          <ac:spMkLst>
            <pc:docMk/>
            <pc:sldMk cId="994271888" sldId="2147471872"/>
            <ac:spMk id="2" creationId="{5DC5E4CB-12F6-3132-5E34-79BFE3D121AD}"/>
          </ac:spMkLst>
        </pc:spChg>
        <pc:spChg chg="add mod ord">
          <ac:chgData name="Sun, Wenlu" userId="53fe643b-d433-46a7-aebc-e8f4cd540df3" providerId="ADAL" clId="{9BC934C4-48EC-41BC-A2E5-682113C5B5A5}" dt="2026-06-05T02:37:34.102" v="11601" actId="20577"/>
          <ac:spMkLst>
            <pc:docMk/>
            <pc:sldMk cId="994271888" sldId="2147471872"/>
            <ac:spMk id="4" creationId="{D76B423F-B1D7-FFFC-B290-2A7E39399872}"/>
          </ac:spMkLst>
        </pc:spChg>
        <pc:spChg chg="add del mod modVis">
          <ac:chgData name="Sun, Wenlu" userId="53fe643b-d433-46a7-aebc-e8f4cd540df3" providerId="ADAL" clId="{9BC934C4-48EC-41BC-A2E5-682113C5B5A5}" dt="2026-06-04T10:13:00.806" v="10867"/>
          <ac:spMkLst>
            <pc:docMk/>
            <pc:sldMk cId="994271888" sldId="2147471872"/>
            <ac:spMk id="5" creationId="{0D1AEE42-C73B-CC82-2C69-0D3A5BADE4C5}"/>
          </ac:spMkLst>
        </pc:spChg>
        <pc:spChg chg="add mod">
          <ac:chgData name="Sun, Wenlu" userId="53fe643b-d433-46a7-aebc-e8f4cd540df3" providerId="ADAL" clId="{9BC934C4-48EC-41BC-A2E5-682113C5B5A5}" dt="2026-06-04T10:13:30.895" v="11029"/>
          <ac:spMkLst>
            <pc:docMk/>
            <pc:sldMk cId="994271888" sldId="2147471872"/>
            <ac:spMk id="6" creationId="{232CCD5A-90DE-EDB8-09FC-788D9F5E31FC}"/>
          </ac:spMkLst>
        </pc:spChg>
        <pc:spChg chg="mod ord">
          <ac:chgData name="Sun, Wenlu" userId="53fe643b-d433-46a7-aebc-e8f4cd540df3" providerId="ADAL" clId="{9BC934C4-48EC-41BC-A2E5-682113C5B5A5}" dt="2026-06-04T10:13:30.872" v="11007"/>
          <ac:spMkLst>
            <pc:docMk/>
            <pc:sldMk cId="994271888" sldId="2147471872"/>
            <ac:spMk id="9" creationId="{65EDF9BE-32D3-79F3-2E57-DAAFD76BBF43}"/>
          </ac:spMkLst>
        </pc:spChg>
        <pc:spChg chg="add mod">
          <ac:chgData name="Sun, Wenlu" userId="53fe643b-d433-46a7-aebc-e8f4cd540df3" providerId="ADAL" clId="{9BC934C4-48EC-41BC-A2E5-682113C5B5A5}" dt="2026-06-04T10:13:34.403" v="11050"/>
          <ac:spMkLst>
            <pc:docMk/>
            <pc:sldMk cId="994271888" sldId="2147471872"/>
            <ac:spMk id="10" creationId="{5DE0F791-B049-32D7-9978-545C3E7D2AFC}"/>
          </ac:spMkLst>
        </pc:spChg>
        <pc:spChg chg="add del mod modVis">
          <ac:chgData name="Sun, Wenlu" userId="53fe643b-d433-46a7-aebc-e8f4cd540df3" providerId="ADAL" clId="{9BC934C4-48EC-41BC-A2E5-682113C5B5A5}" dt="2026-06-04T10:13:30.903" v="11037"/>
          <ac:spMkLst>
            <pc:docMk/>
            <pc:sldMk cId="994271888" sldId="2147471872"/>
            <ac:spMk id="11" creationId="{F2149040-99A0-8D2B-56FF-9D7D24F3F616}"/>
          </ac:spMkLst>
        </pc:spChg>
        <pc:spChg chg="mod">
          <ac:chgData name="Sun, Wenlu" userId="53fe643b-d433-46a7-aebc-e8f4cd540df3" providerId="ADAL" clId="{9BC934C4-48EC-41BC-A2E5-682113C5B5A5}" dt="2026-06-04T10:13:30.887" v="11010"/>
          <ac:spMkLst>
            <pc:docMk/>
            <pc:sldMk cId="994271888" sldId="2147471872"/>
            <ac:spMk id="38" creationId="{C6339F22-1CE5-C205-A1BA-C1EF876A5ADF}"/>
          </ac:spMkLst>
        </pc:spChg>
        <pc:spChg chg="mod ord topLvl">
          <ac:chgData name="Sun, Wenlu" userId="53fe643b-d433-46a7-aebc-e8f4cd540df3" providerId="ADAL" clId="{9BC934C4-48EC-41BC-A2E5-682113C5B5A5}" dt="2026-06-05T02:31:45.381" v="11426" actId="20577"/>
          <ac:spMkLst>
            <pc:docMk/>
            <pc:sldMk cId="994271888" sldId="2147471872"/>
            <ac:spMk id="50" creationId="{94C42378-8EA5-C49E-5F1F-C873AF82AB1D}"/>
          </ac:spMkLst>
        </pc:spChg>
        <pc:spChg chg="mod">
          <ac:chgData name="Sun, Wenlu" userId="53fe643b-d433-46a7-aebc-e8f4cd540df3" providerId="ADAL" clId="{9BC934C4-48EC-41BC-A2E5-682113C5B5A5}" dt="2026-06-04T10:13:30.895" v="11027"/>
          <ac:spMkLst>
            <pc:docMk/>
            <pc:sldMk cId="994271888" sldId="2147471872"/>
            <ac:spMk id="480" creationId="{F3AB1E6C-C062-124B-CD69-A3C25A12729E}"/>
          </ac:spMkLst>
        </pc:spChg>
        <pc:spChg chg="mod ord">
          <ac:chgData name="Sun, Wenlu" userId="53fe643b-d433-46a7-aebc-e8f4cd540df3" providerId="ADAL" clId="{9BC934C4-48EC-41BC-A2E5-682113C5B5A5}" dt="2026-06-04T10:13:30.872" v="11005"/>
          <ac:spMkLst>
            <pc:docMk/>
            <pc:sldMk cId="994271888" sldId="2147471872"/>
            <ac:spMk id="481" creationId="{B3A6355E-2CAC-A13C-C6FB-6B7419B5378C}"/>
          </ac:spMkLst>
        </pc:spChg>
        <pc:spChg chg="mod">
          <ac:chgData name="Sun, Wenlu" userId="53fe643b-d433-46a7-aebc-e8f4cd540df3" providerId="ADAL" clId="{9BC934C4-48EC-41BC-A2E5-682113C5B5A5}" dt="2026-06-04T10:13:30.895" v="11028"/>
          <ac:spMkLst>
            <pc:docMk/>
            <pc:sldMk cId="994271888" sldId="2147471872"/>
            <ac:spMk id="526" creationId="{C06B8F90-B22A-1413-6136-804B0966FB6C}"/>
          </ac:spMkLst>
        </pc:spChg>
        <pc:spChg chg="mod">
          <ac:chgData name="Sun, Wenlu" userId="53fe643b-d433-46a7-aebc-e8f4cd540df3" providerId="ADAL" clId="{9BC934C4-48EC-41BC-A2E5-682113C5B5A5}" dt="2026-06-05T02:32:30.356" v="11444"/>
          <ac:spMkLst>
            <pc:docMk/>
            <pc:sldMk cId="994271888" sldId="2147471872"/>
            <ac:spMk id="538" creationId="{85B4816F-D829-B474-9930-E650AC1DCAF2}"/>
          </ac:spMkLst>
        </pc:spChg>
        <pc:spChg chg="mod ord">
          <ac:chgData name="Sun, Wenlu" userId="53fe643b-d433-46a7-aebc-e8f4cd540df3" providerId="ADAL" clId="{9BC934C4-48EC-41BC-A2E5-682113C5B5A5}" dt="2026-06-04T10:13:30.872" v="11003"/>
          <ac:spMkLst>
            <pc:docMk/>
            <pc:sldMk cId="994271888" sldId="2147471872"/>
            <ac:spMk id="542" creationId="{CF4F9640-FA17-5304-5CE3-D00F4340A8FA}"/>
          </ac:spMkLst>
        </pc:spChg>
        <pc:spChg chg="mod ord">
          <ac:chgData name="Sun, Wenlu" userId="53fe643b-d433-46a7-aebc-e8f4cd540df3" providerId="ADAL" clId="{9BC934C4-48EC-41BC-A2E5-682113C5B5A5}" dt="2026-06-04T10:13:30.872" v="11001"/>
          <ac:spMkLst>
            <pc:docMk/>
            <pc:sldMk cId="994271888" sldId="2147471872"/>
            <ac:spMk id="552" creationId="{A755E8C8-AC0F-2384-DB26-553442C95FAB}"/>
          </ac:spMkLst>
        </pc:spChg>
        <pc:spChg chg="add del mod ord">
          <ac:chgData name="Sun, Wenlu" userId="53fe643b-d433-46a7-aebc-e8f4cd540df3" providerId="ADAL" clId="{9BC934C4-48EC-41BC-A2E5-682113C5B5A5}" dt="2026-06-04T10:13:30.872" v="10999"/>
          <ac:spMkLst>
            <pc:docMk/>
            <pc:sldMk cId="994271888" sldId="2147471872"/>
            <ac:spMk id="553" creationId="{4A6527DC-0EE6-05D4-0E0F-055CB2AB6C7B}"/>
          </ac:spMkLst>
        </pc:spChg>
        <pc:spChg chg="add del mod ord">
          <ac:chgData name="Sun, Wenlu" userId="53fe643b-d433-46a7-aebc-e8f4cd540df3" providerId="ADAL" clId="{9BC934C4-48EC-41BC-A2E5-682113C5B5A5}" dt="2026-06-04T10:13:30.887" v="11012"/>
          <ac:spMkLst>
            <pc:docMk/>
            <pc:sldMk cId="994271888" sldId="2147471872"/>
            <ac:spMk id="554" creationId="{89002614-302C-DBC3-DFA2-EC7B805B4129}"/>
          </ac:spMkLst>
        </pc:spChg>
        <pc:spChg chg="mod ord topLvl">
          <ac:chgData name="Sun, Wenlu" userId="53fe643b-d433-46a7-aebc-e8f4cd540df3" providerId="ADAL" clId="{9BC934C4-48EC-41BC-A2E5-682113C5B5A5}" dt="2026-06-04T10:13:30.895" v="11020"/>
          <ac:spMkLst>
            <pc:docMk/>
            <pc:sldMk cId="994271888" sldId="2147471872"/>
            <ac:spMk id="572" creationId="{7E4C0AED-1AB9-66A2-917F-C834CEF0BB35}"/>
          </ac:spMkLst>
        </pc:spChg>
        <pc:spChg chg="mod ord">
          <ac:chgData name="Sun, Wenlu" userId="53fe643b-d433-46a7-aebc-e8f4cd540df3" providerId="ADAL" clId="{9BC934C4-48EC-41BC-A2E5-682113C5B5A5}" dt="2026-06-04T10:13:30.887" v="11018"/>
          <ac:spMkLst>
            <pc:docMk/>
            <pc:sldMk cId="994271888" sldId="2147471872"/>
            <ac:spMk id="591" creationId="{6AB25618-FE56-6128-0AD4-D4351ADBB5DC}"/>
          </ac:spMkLst>
        </pc:spChg>
        <pc:grpChg chg="del mod ord">
          <ac:chgData name="Sun, Wenlu" userId="53fe643b-d433-46a7-aebc-e8f4cd540df3" providerId="ADAL" clId="{9BC934C4-48EC-41BC-A2E5-682113C5B5A5}" dt="2026-06-04T10:12:25.946" v="10696" actId="165"/>
          <ac:grpSpMkLst>
            <pc:docMk/>
            <pc:sldMk cId="994271888" sldId="2147471872"/>
            <ac:grpSpMk id="51" creationId="{4F7A0DCD-48A6-577D-B9AD-CB631F2B317D}"/>
          </ac:grpSpMkLst>
        </pc:grpChg>
        <pc:grpChg chg="mod ord">
          <ac:chgData name="Sun, Wenlu" userId="53fe643b-d433-46a7-aebc-e8f4cd540df3" providerId="ADAL" clId="{9BC934C4-48EC-41BC-A2E5-682113C5B5A5}" dt="2026-06-04T10:13:30.895" v="11024"/>
          <ac:grpSpMkLst>
            <pc:docMk/>
            <pc:sldMk cId="994271888" sldId="2147471872"/>
            <ac:grpSpMk id="52" creationId="{B1BD20D2-40EC-DB99-1F73-8B1E9EC4E3D4}"/>
          </ac:grpSpMkLst>
        </pc:grpChg>
        <pc:grpChg chg="mod ord">
          <ac:chgData name="Sun, Wenlu" userId="53fe643b-d433-46a7-aebc-e8f4cd540df3" providerId="ADAL" clId="{9BC934C4-48EC-41BC-A2E5-682113C5B5A5}" dt="2026-06-04T10:13:30.887" v="11014"/>
          <ac:grpSpMkLst>
            <pc:docMk/>
            <pc:sldMk cId="994271888" sldId="2147471872"/>
            <ac:grpSpMk id="569" creationId="{EF8D456F-C7A9-41D2-7F10-92C55A5E4ABE}"/>
          </ac:grpSpMkLst>
        </pc:grpChg>
        <pc:graphicFrameChg chg="mod">
          <ac:chgData name="Sun, Wenlu" userId="53fe643b-d433-46a7-aebc-e8f4cd540df3" providerId="ADAL" clId="{9BC934C4-48EC-41BC-A2E5-682113C5B5A5}" dt="2026-06-05T02:32:30.371" v="11446"/>
          <ac:graphicFrameMkLst>
            <pc:docMk/>
            <pc:sldMk cId="994271888" sldId="2147471872"/>
            <ac:graphicFrameMk id="3" creationId="{5E6E281D-C7E2-489E-2573-1E95E0180BBE}"/>
          </ac:graphicFrameMkLst>
        </pc:graphicFrameChg>
        <pc:graphicFrameChg chg="add del mod ord">
          <ac:chgData name="Sun, Wenlu" userId="53fe643b-d433-46a7-aebc-e8f4cd540df3" providerId="ADAL" clId="{9BC934C4-48EC-41BC-A2E5-682113C5B5A5}" dt="2026-06-04T10:13:30.839" v="10992"/>
          <ac:graphicFrameMkLst>
            <pc:docMk/>
            <pc:sldMk cId="994271888" sldId="2147471872"/>
            <ac:graphicFrameMk id="7" creationId="{5E1BD66A-FF7B-E6E3-9651-70693E76FF85}"/>
          </ac:graphicFrameMkLst>
        </pc:graphicFrameChg>
        <pc:graphicFrameChg chg="add mod ord">
          <ac:chgData name="Sun, Wenlu" userId="53fe643b-d433-46a7-aebc-e8f4cd540df3" providerId="ADAL" clId="{9BC934C4-48EC-41BC-A2E5-682113C5B5A5}" dt="2026-06-04T10:13:30.887" v="11009"/>
          <ac:graphicFrameMkLst>
            <pc:docMk/>
            <pc:sldMk cId="994271888" sldId="2147471872"/>
            <ac:graphicFrameMk id="8" creationId="{90AB8108-C475-1F56-79EE-21E9AF4C94A3}"/>
          </ac:graphicFrameMkLst>
        </pc:graphicFrameChg>
        <pc:graphicFrameChg chg="add mod ord">
          <ac:chgData name="Sun, Wenlu" userId="53fe643b-d433-46a7-aebc-e8f4cd540df3" providerId="ADAL" clId="{9BC934C4-48EC-41BC-A2E5-682113C5B5A5}" dt="2026-06-04T10:13:30.895" v="11026"/>
          <ac:graphicFrameMkLst>
            <pc:docMk/>
            <pc:sldMk cId="994271888" sldId="2147471872"/>
            <ac:graphicFrameMk id="12" creationId="{5B3F2436-5181-2AAC-1779-73266417CD0F}"/>
          </ac:graphicFrameMkLst>
        </pc:graphicFrameChg>
        <pc:graphicFrameChg chg="add del mod ord">
          <ac:chgData name="Sun, Wenlu" userId="53fe643b-d433-46a7-aebc-e8f4cd540df3" providerId="ADAL" clId="{9BC934C4-48EC-41BC-A2E5-682113C5B5A5}" dt="2026-06-04T10:13:00.696" v="10823"/>
          <ac:graphicFrameMkLst>
            <pc:docMk/>
            <pc:sldMk cId="994271888" sldId="2147471872"/>
            <ac:graphicFrameMk id="47" creationId="{8195033F-5165-F548-E4AB-08598BAE02D4}"/>
          </ac:graphicFrameMkLst>
        </pc:graphicFrameChg>
        <pc:graphicFrameChg chg="add del mod ord">
          <ac:chgData name="Sun, Wenlu" userId="53fe643b-d433-46a7-aebc-e8f4cd540df3" providerId="ADAL" clId="{9BC934C4-48EC-41BC-A2E5-682113C5B5A5}" dt="2026-06-04T10:13:05.002" v="10873"/>
          <ac:graphicFrameMkLst>
            <pc:docMk/>
            <pc:sldMk cId="994271888" sldId="2147471872"/>
            <ac:graphicFrameMk id="48" creationId="{162F4F83-7027-AA04-6917-D5B7C956A18D}"/>
          </ac:graphicFrameMkLst>
        </pc:graphicFrameChg>
        <pc:graphicFrameChg chg="mod ord modGraphic">
          <ac:chgData name="Sun, Wenlu" userId="53fe643b-d433-46a7-aebc-e8f4cd540df3" providerId="ADAL" clId="{9BC934C4-48EC-41BC-A2E5-682113C5B5A5}" dt="2026-06-04T10:13:30.887" v="11016"/>
          <ac:graphicFrameMkLst>
            <pc:docMk/>
            <pc:sldMk cId="994271888" sldId="2147471872"/>
            <ac:graphicFrameMk id="568" creationId="{257F914D-6755-6F4A-292A-2997A46575FB}"/>
          </ac:graphicFrameMkLst>
        </pc:graphicFrameChg>
      </pc:sldChg>
      <pc:sldChg chg="addSp modSp mod">
        <pc:chgData name="Sun, Wenlu" userId="53fe643b-d433-46a7-aebc-e8f4cd540df3" providerId="ADAL" clId="{9BC934C4-48EC-41BC-A2E5-682113C5B5A5}" dt="2026-06-05T02:58:41.288" v="11684"/>
        <pc:sldMkLst>
          <pc:docMk/>
          <pc:sldMk cId="1877642878" sldId="2147471873"/>
        </pc:sldMkLst>
        <pc:spChg chg="add mod">
          <ac:chgData name="Sun, Wenlu" userId="53fe643b-d433-46a7-aebc-e8f4cd540df3" providerId="ADAL" clId="{9BC934C4-48EC-41BC-A2E5-682113C5B5A5}" dt="2026-06-05T02:58:01.361" v="11640" actId="20577"/>
          <ac:spMkLst>
            <pc:docMk/>
            <pc:sldMk cId="1877642878" sldId="2147471873"/>
            <ac:spMk id="5" creationId="{79FCB064-ED85-7E91-A353-D8BA7660D5FF}"/>
          </ac:spMkLst>
        </pc:spChg>
        <pc:spChg chg="add mod">
          <ac:chgData name="Sun, Wenlu" userId="53fe643b-d433-46a7-aebc-e8f4cd540df3" providerId="ADAL" clId="{9BC934C4-48EC-41BC-A2E5-682113C5B5A5}" dt="2026-06-05T02:58:12.345" v="11676" actId="20577"/>
          <ac:spMkLst>
            <pc:docMk/>
            <pc:sldMk cId="1877642878" sldId="2147471873"/>
            <ac:spMk id="6" creationId="{8C889337-E62F-5F62-9B6E-DF486B943245}"/>
          </ac:spMkLst>
        </pc:spChg>
        <pc:graphicFrameChg chg="mod modGraphic">
          <ac:chgData name="Sun, Wenlu" userId="53fe643b-d433-46a7-aebc-e8f4cd540df3" providerId="ADAL" clId="{9BC934C4-48EC-41BC-A2E5-682113C5B5A5}" dt="2026-06-05T02:58:41.288" v="11684"/>
          <ac:graphicFrameMkLst>
            <pc:docMk/>
            <pc:sldMk cId="1877642878" sldId="2147471873"/>
            <ac:graphicFrameMk id="2" creationId="{51327765-BAD6-29A8-7585-757C160CA278}"/>
          </ac:graphicFrameMkLst>
        </pc:graphicFrameChg>
        <pc:graphicFrameChg chg="mod">
          <ac:chgData name="Sun, Wenlu" userId="53fe643b-d433-46a7-aebc-e8f4cd540df3" providerId="ADAL" clId="{9BC934C4-48EC-41BC-A2E5-682113C5B5A5}" dt="2026-06-04T01:40:00.599" v="9940"/>
          <ac:graphicFrameMkLst>
            <pc:docMk/>
            <pc:sldMk cId="1877642878" sldId="2147471873"/>
            <ac:graphicFrameMk id="3" creationId="{411626F6-E499-5D97-50F3-61F979FCAE7D}"/>
          </ac:graphicFrameMkLst>
        </pc:graphicFrameChg>
      </pc:sldChg>
      <pc:sldChg chg="addSp delSp modSp mod">
        <pc:chgData name="Sun, Wenlu" userId="53fe643b-d433-46a7-aebc-e8f4cd540df3" providerId="ADAL" clId="{9BC934C4-48EC-41BC-A2E5-682113C5B5A5}" dt="2026-06-05T03:30:24.210" v="11739" actId="20577"/>
        <pc:sldMkLst>
          <pc:docMk/>
          <pc:sldMk cId="3034629025" sldId="2147471875"/>
        </pc:sldMkLst>
        <pc:spChg chg="mod topLvl">
          <ac:chgData name="Sun, Wenlu" userId="53fe643b-d433-46a7-aebc-e8f4cd540df3" providerId="ADAL" clId="{9BC934C4-48EC-41BC-A2E5-682113C5B5A5}" dt="2026-06-04T10:03:31.993" v="9947" actId="165"/>
          <ac:spMkLst>
            <pc:docMk/>
            <pc:sldMk cId="3034629025" sldId="2147471875"/>
            <ac:spMk id="2" creationId="{56C94AC9-AA80-20B8-6421-EE6FAD0190CF}"/>
          </ac:spMkLst>
        </pc:spChg>
        <pc:spChg chg="mod topLvl">
          <ac:chgData name="Sun, Wenlu" userId="53fe643b-d433-46a7-aebc-e8f4cd540df3" providerId="ADAL" clId="{9BC934C4-48EC-41BC-A2E5-682113C5B5A5}" dt="2026-06-04T10:03:31.993" v="9947" actId="165"/>
          <ac:spMkLst>
            <pc:docMk/>
            <pc:sldMk cId="3034629025" sldId="2147471875"/>
            <ac:spMk id="4" creationId="{D85B031A-9DA6-5346-B40B-60C2BCFDB889}"/>
          </ac:spMkLst>
        </pc:spChg>
        <pc:spChg chg="mod">
          <ac:chgData name="Sun, Wenlu" userId="53fe643b-d433-46a7-aebc-e8f4cd540df3" providerId="ADAL" clId="{9BC934C4-48EC-41BC-A2E5-682113C5B5A5}" dt="2026-05-27T05:32:19.687" v="5239" actId="122"/>
          <ac:spMkLst>
            <pc:docMk/>
            <pc:sldMk cId="3034629025" sldId="2147471875"/>
            <ac:spMk id="6" creationId="{D0AA2CF9-CEDF-2716-4BF3-C87FA7A2ACB3}"/>
          </ac:spMkLst>
        </pc:spChg>
        <pc:spChg chg="mod">
          <ac:chgData name="Sun, Wenlu" userId="53fe643b-d433-46a7-aebc-e8f4cd540df3" providerId="ADAL" clId="{9BC934C4-48EC-41BC-A2E5-682113C5B5A5}" dt="2026-05-27T05:32:22.293" v="5240" actId="122"/>
          <ac:spMkLst>
            <pc:docMk/>
            <pc:sldMk cId="3034629025" sldId="2147471875"/>
            <ac:spMk id="7" creationId="{3B332F6B-4D87-DE5C-51E4-5B5CFC85259F}"/>
          </ac:spMkLst>
        </pc:spChg>
        <pc:spChg chg="mod topLvl">
          <ac:chgData name="Sun, Wenlu" userId="53fe643b-d433-46a7-aebc-e8f4cd540df3" providerId="ADAL" clId="{9BC934C4-48EC-41BC-A2E5-682113C5B5A5}" dt="2026-06-05T03:29:44.046" v="11685" actId="20577"/>
          <ac:spMkLst>
            <pc:docMk/>
            <pc:sldMk cId="3034629025" sldId="2147471875"/>
            <ac:spMk id="8" creationId="{F1F6F310-A539-12E2-B692-FF6D7FAF9931}"/>
          </ac:spMkLst>
        </pc:spChg>
        <pc:spChg chg="mod">
          <ac:chgData name="Sun, Wenlu" userId="53fe643b-d433-46a7-aebc-e8f4cd540df3" providerId="ADAL" clId="{9BC934C4-48EC-41BC-A2E5-682113C5B5A5}" dt="2026-06-05T03:30:01.309" v="11701" actId="20577"/>
          <ac:spMkLst>
            <pc:docMk/>
            <pc:sldMk cId="3034629025" sldId="2147471875"/>
            <ac:spMk id="9" creationId="{D8F73649-7718-7482-C5A6-27E19CB71AA3}"/>
          </ac:spMkLst>
        </pc:spChg>
        <pc:spChg chg="mod topLvl">
          <ac:chgData name="Sun, Wenlu" userId="53fe643b-d433-46a7-aebc-e8f4cd540df3" providerId="ADAL" clId="{9BC934C4-48EC-41BC-A2E5-682113C5B5A5}" dt="2026-06-05T03:30:12.961" v="11713" actId="20577"/>
          <ac:spMkLst>
            <pc:docMk/>
            <pc:sldMk cId="3034629025" sldId="2147471875"/>
            <ac:spMk id="10" creationId="{D34B927B-95FE-7625-42A7-1F8EB75160B5}"/>
          </ac:spMkLst>
        </pc:spChg>
        <pc:spChg chg="mod topLvl">
          <ac:chgData name="Sun, Wenlu" userId="53fe643b-d433-46a7-aebc-e8f4cd540df3" providerId="ADAL" clId="{9BC934C4-48EC-41BC-A2E5-682113C5B5A5}" dt="2026-06-05T03:30:24.210" v="11739" actId="20577"/>
          <ac:spMkLst>
            <pc:docMk/>
            <pc:sldMk cId="3034629025" sldId="2147471875"/>
            <ac:spMk id="12" creationId="{C58C4DBA-E7DC-7788-7D2C-F04B342C184C}"/>
          </ac:spMkLst>
        </pc:spChg>
        <pc:spChg chg="mod topLvl">
          <ac:chgData name="Sun, Wenlu" userId="53fe643b-d433-46a7-aebc-e8f4cd540df3" providerId="ADAL" clId="{9BC934C4-48EC-41BC-A2E5-682113C5B5A5}" dt="2026-06-04T10:03:31.993" v="9947" actId="165"/>
          <ac:spMkLst>
            <pc:docMk/>
            <pc:sldMk cId="3034629025" sldId="2147471875"/>
            <ac:spMk id="13" creationId="{58622A1D-7BB2-F395-95DD-061B14436662}"/>
          </ac:spMkLst>
        </pc:spChg>
        <pc:spChg chg="add mod">
          <ac:chgData name="Sun, Wenlu" userId="53fe643b-d433-46a7-aebc-e8f4cd540df3" providerId="ADAL" clId="{9BC934C4-48EC-41BC-A2E5-682113C5B5A5}" dt="2026-06-05T02:09:33.908" v="11224" actId="14100"/>
          <ac:spMkLst>
            <pc:docMk/>
            <pc:sldMk cId="3034629025" sldId="2147471875"/>
            <ac:spMk id="14" creationId="{73B48DB3-BCFD-F075-C9FE-64EE18D30D83}"/>
          </ac:spMkLst>
        </pc:spChg>
        <pc:spChg chg="add mod">
          <ac:chgData name="Sun, Wenlu" userId="53fe643b-d433-46a7-aebc-e8f4cd540df3" providerId="ADAL" clId="{9BC934C4-48EC-41BC-A2E5-682113C5B5A5}" dt="2026-06-05T02:10:23.262" v="11230" actId="14100"/>
          <ac:spMkLst>
            <pc:docMk/>
            <pc:sldMk cId="3034629025" sldId="2147471875"/>
            <ac:spMk id="20" creationId="{77B3611D-6ABF-1EA4-080D-47350C213B37}"/>
          </ac:spMkLst>
        </pc:spChg>
        <pc:spChg chg="mod topLvl">
          <ac:chgData name="Sun, Wenlu" userId="53fe643b-d433-46a7-aebc-e8f4cd540df3" providerId="ADAL" clId="{9BC934C4-48EC-41BC-A2E5-682113C5B5A5}" dt="2026-06-04T10:03:31.993" v="9947" actId="165"/>
          <ac:spMkLst>
            <pc:docMk/>
            <pc:sldMk cId="3034629025" sldId="2147471875"/>
            <ac:spMk id="22" creationId="{F7F2FB29-4A57-B5B8-206E-BB9B59C5E977}"/>
          </ac:spMkLst>
        </pc:spChg>
        <pc:spChg chg="mod">
          <ac:chgData name="Sun, Wenlu" userId="53fe643b-d433-46a7-aebc-e8f4cd540df3" providerId="ADAL" clId="{9BC934C4-48EC-41BC-A2E5-682113C5B5A5}" dt="2026-05-27T05:32:12.445" v="5236" actId="122"/>
          <ac:spMkLst>
            <pc:docMk/>
            <pc:sldMk cId="3034629025" sldId="2147471875"/>
            <ac:spMk id="23" creationId="{BDDD87DE-28DF-3441-FD8A-B66B578E1267}"/>
          </ac:spMkLst>
        </pc:spChg>
        <pc:spChg chg="mod topLvl">
          <ac:chgData name="Sun, Wenlu" userId="53fe643b-d433-46a7-aebc-e8f4cd540df3" providerId="ADAL" clId="{9BC934C4-48EC-41BC-A2E5-682113C5B5A5}" dt="2026-06-04T10:03:31.993" v="9947" actId="165"/>
          <ac:spMkLst>
            <pc:docMk/>
            <pc:sldMk cId="3034629025" sldId="2147471875"/>
            <ac:spMk id="25" creationId="{68591647-C67C-2360-9020-0AAD190B90CF}"/>
          </ac:spMkLst>
        </pc:spChg>
        <pc:spChg chg="mod topLvl">
          <ac:chgData name="Sun, Wenlu" userId="53fe643b-d433-46a7-aebc-e8f4cd540df3" providerId="ADAL" clId="{9BC934C4-48EC-41BC-A2E5-682113C5B5A5}" dt="2026-06-04T10:03:31.993" v="9947" actId="165"/>
          <ac:spMkLst>
            <pc:docMk/>
            <pc:sldMk cId="3034629025" sldId="2147471875"/>
            <ac:spMk id="28" creationId="{A8C6A821-AAAF-4D66-456A-AEE0B640BA39}"/>
          </ac:spMkLst>
        </pc:spChg>
        <pc:spChg chg="mod topLvl">
          <ac:chgData name="Sun, Wenlu" userId="53fe643b-d433-46a7-aebc-e8f4cd540df3" providerId="ADAL" clId="{9BC934C4-48EC-41BC-A2E5-682113C5B5A5}" dt="2026-06-04T10:03:31.993" v="9947" actId="165"/>
          <ac:spMkLst>
            <pc:docMk/>
            <pc:sldMk cId="3034629025" sldId="2147471875"/>
            <ac:spMk id="34" creationId="{64CF04A8-9D95-27E6-1976-D0ABDC63F8D5}"/>
          </ac:spMkLst>
        </pc:spChg>
      </pc:sldChg>
      <pc:sldChg chg="addSp delSp modSp mod">
        <pc:chgData name="Sun, Wenlu" userId="53fe643b-d433-46a7-aebc-e8f4cd540df3" providerId="ADAL" clId="{9BC934C4-48EC-41BC-A2E5-682113C5B5A5}" dt="2026-06-05T03:30:45.302" v="11745" actId="20577"/>
        <pc:sldMkLst>
          <pc:docMk/>
          <pc:sldMk cId="3178201612" sldId="2147471877"/>
        </pc:sldMkLst>
        <pc:spChg chg="add mod ord">
          <ac:chgData name="Sun, Wenlu" userId="53fe643b-d433-46a7-aebc-e8f4cd540df3" providerId="ADAL" clId="{9BC934C4-48EC-41BC-A2E5-682113C5B5A5}" dt="2026-06-04T10:47:40.677" v="11123"/>
          <ac:spMkLst>
            <pc:docMk/>
            <pc:sldMk cId="3178201612" sldId="2147471877"/>
            <ac:spMk id="2" creationId="{37523D4A-4D80-0AFE-6BC1-A193277DF4FE}"/>
          </ac:spMkLst>
        </pc:spChg>
        <pc:spChg chg="add del mod modVis">
          <ac:chgData name="Sun, Wenlu" userId="53fe643b-d433-46a7-aebc-e8f4cd540df3" providerId="ADAL" clId="{9BC934C4-48EC-41BC-A2E5-682113C5B5A5}" dt="2026-06-04T10:06:10.087" v="10279"/>
          <ac:spMkLst>
            <pc:docMk/>
            <pc:sldMk cId="3178201612" sldId="2147471877"/>
            <ac:spMk id="4" creationId="{DF473587-B932-584B-3A81-E46E4BCD8E03}"/>
          </ac:spMkLst>
        </pc:spChg>
        <pc:spChg chg="mod">
          <ac:chgData name="Sun, Wenlu" userId="53fe643b-d433-46a7-aebc-e8f4cd540df3" providerId="ADAL" clId="{9BC934C4-48EC-41BC-A2E5-682113C5B5A5}" dt="2026-06-02T06:10:21.510" v="7367"/>
          <ac:spMkLst>
            <pc:docMk/>
            <pc:sldMk cId="3178201612" sldId="2147471877"/>
            <ac:spMk id="6" creationId="{7A1D47D1-174E-FA15-71F3-F2FBF62A243F}"/>
          </ac:spMkLst>
        </pc:spChg>
        <pc:spChg chg="mod">
          <ac:chgData name="Sun, Wenlu" userId="53fe643b-d433-46a7-aebc-e8f4cd540df3" providerId="ADAL" clId="{9BC934C4-48EC-41BC-A2E5-682113C5B5A5}" dt="2026-06-05T02:25:12.107" v="11381" actId="6549"/>
          <ac:spMkLst>
            <pc:docMk/>
            <pc:sldMk cId="3178201612" sldId="2147471877"/>
            <ac:spMk id="8" creationId="{1CB636DE-6C44-C82B-AE00-2D848351DFEC}"/>
          </ac:spMkLst>
        </pc:spChg>
        <pc:spChg chg="mod ord">
          <ac:chgData name="Sun, Wenlu" userId="53fe643b-d433-46a7-aebc-e8f4cd540df3" providerId="ADAL" clId="{9BC934C4-48EC-41BC-A2E5-682113C5B5A5}" dt="2026-06-04T10:47:40.661" v="11067"/>
          <ac:spMkLst>
            <pc:docMk/>
            <pc:sldMk cId="3178201612" sldId="2147471877"/>
            <ac:spMk id="9" creationId="{A538C22E-D46D-F2A2-1EDF-9EE85E6189CA}"/>
          </ac:spMkLst>
        </pc:spChg>
        <pc:spChg chg="mod">
          <ac:chgData name="Sun, Wenlu" userId="53fe643b-d433-46a7-aebc-e8f4cd540df3" providerId="ADAL" clId="{9BC934C4-48EC-41BC-A2E5-682113C5B5A5}" dt="2026-06-02T06:10:21.510" v="7369"/>
          <ac:spMkLst>
            <pc:docMk/>
            <pc:sldMk cId="3178201612" sldId="2147471877"/>
            <ac:spMk id="15" creationId="{5316B623-94E4-8002-754D-B104B537F70C}"/>
          </ac:spMkLst>
        </pc:spChg>
        <pc:spChg chg="mod">
          <ac:chgData name="Sun, Wenlu" userId="53fe643b-d433-46a7-aebc-e8f4cd540df3" providerId="ADAL" clId="{9BC934C4-48EC-41BC-A2E5-682113C5B5A5}" dt="2026-06-05T02:25:14.284" v="11382" actId="6549"/>
          <ac:spMkLst>
            <pc:docMk/>
            <pc:sldMk cId="3178201612" sldId="2147471877"/>
            <ac:spMk id="16" creationId="{D40AC2BD-F89F-9708-2468-378FCB284AEC}"/>
          </ac:spMkLst>
        </pc:spChg>
        <pc:spChg chg="mod">
          <ac:chgData name="Sun, Wenlu" userId="53fe643b-d433-46a7-aebc-e8f4cd540df3" providerId="ADAL" clId="{9BC934C4-48EC-41BC-A2E5-682113C5B5A5}" dt="2026-06-02T06:10:21.510" v="7371"/>
          <ac:spMkLst>
            <pc:docMk/>
            <pc:sldMk cId="3178201612" sldId="2147471877"/>
            <ac:spMk id="18" creationId="{FD86C569-B89F-2EA8-E791-899C5A03126A}"/>
          </ac:spMkLst>
        </pc:spChg>
        <pc:spChg chg="mod">
          <ac:chgData name="Sun, Wenlu" userId="53fe643b-d433-46a7-aebc-e8f4cd540df3" providerId="ADAL" clId="{9BC934C4-48EC-41BC-A2E5-682113C5B5A5}" dt="2026-06-05T02:25:16.485" v="11383" actId="6549"/>
          <ac:spMkLst>
            <pc:docMk/>
            <pc:sldMk cId="3178201612" sldId="2147471877"/>
            <ac:spMk id="19" creationId="{65B68596-3E39-692D-3E0A-977FC8603EC5}"/>
          </ac:spMkLst>
        </pc:spChg>
        <pc:spChg chg="mod">
          <ac:chgData name="Sun, Wenlu" userId="53fe643b-d433-46a7-aebc-e8f4cd540df3" providerId="ADAL" clId="{9BC934C4-48EC-41BC-A2E5-682113C5B5A5}" dt="2026-06-05T02:23:19.036" v="11349"/>
          <ac:spMkLst>
            <pc:docMk/>
            <pc:sldMk cId="3178201612" sldId="2147471877"/>
            <ac:spMk id="24" creationId="{F011D850-56B5-89B4-E330-8D190130E269}"/>
          </ac:spMkLst>
        </pc:spChg>
        <pc:spChg chg="mod">
          <ac:chgData name="Sun, Wenlu" userId="53fe643b-d433-46a7-aebc-e8f4cd540df3" providerId="ADAL" clId="{9BC934C4-48EC-41BC-A2E5-682113C5B5A5}" dt="2026-06-05T02:22:49.054" v="11268"/>
          <ac:spMkLst>
            <pc:docMk/>
            <pc:sldMk cId="3178201612" sldId="2147471877"/>
            <ac:spMk id="25" creationId="{39ACA149-DAEE-156A-D890-1C35C86346C5}"/>
          </ac:spMkLst>
        </pc:spChg>
        <pc:spChg chg="mod ord">
          <ac:chgData name="Sun, Wenlu" userId="53fe643b-d433-46a7-aebc-e8f4cd540df3" providerId="ADAL" clId="{9BC934C4-48EC-41BC-A2E5-682113C5B5A5}" dt="2026-06-05T02:22:49.054" v="11269" actId="948"/>
          <ac:spMkLst>
            <pc:docMk/>
            <pc:sldMk cId="3178201612" sldId="2147471877"/>
            <ac:spMk id="26" creationId="{18A19F14-9F17-D99D-2C78-DB7CCB2F441A}"/>
          </ac:spMkLst>
        </pc:spChg>
        <pc:spChg chg="add del mod modVis">
          <ac:chgData name="Sun, Wenlu" userId="53fe643b-d433-46a7-aebc-e8f4cd540df3" providerId="ADAL" clId="{9BC934C4-48EC-41BC-A2E5-682113C5B5A5}" dt="2026-06-05T02:23:19.052" v="11351"/>
          <ac:spMkLst>
            <pc:docMk/>
            <pc:sldMk cId="3178201612" sldId="2147471877"/>
            <ac:spMk id="28" creationId="{C2955C9A-895B-3752-35C3-42DEC932A95E}"/>
          </ac:spMkLst>
        </pc:spChg>
        <pc:spChg chg="mod ord">
          <ac:chgData name="Sun, Wenlu" userId="53fe643b-d433-46a7-aebc-e8f4cd540df3" providerId="ADAL" clId="{9BC934C4-48EC-41BC-A2E5-682113C5B5A5}" dt="2026-06-04T10:47:40.677" v="11121"/>
          <ac:spMkLst>
            <pc:docMk/>
            <pc:sldMk cId="3178201612" sldId="2147471877"/>
            <ac:spMk id="33" creationId="{AF962DC1-48CA-6259-346F-5575129E90B3}"/>
          </ac:spMkLst>
        </pc:spChg>
        <pc:spChg chg="mod">
          <ac:chgData name="Sun, Wenlu" userId="53fe643b-d433-46a7-aebc-e8f4cd540df3" providerId="ADAL" clId="{9BC934C4-48EC-41BC-A2E5-682113C5B5A5}" dt="2026-06-04T10:47:40.661" v="11088"/>
          <ac:spMkLst>
            <pc:docMk/>
            <pc:sldMk cId="3178201612" sldId="2147471877"/>
            <ac:spMk id="479" creationId="{C28951AF-1CD3-F509-B16C-47E6C5E55C94}"/>
          </ac:spMkLst>
        </pc:spChg>
        <pc:spChg chg="mod">
          <ac:chgData name="Sun, Wenlu" userId="53fe643b-d433-46a7-aebc-e8f4cd540df3" providerId="ADAL" clId="{9BC934C4-48EC-41BC-A2E5-682113C5B5A5}" dt="2026-06-04T10:47:40.661" v="11089"/>
          <ac:spMkLst>
            <pc:docMk/>
            <pc:sldMk cId="3178201612" sldId="2147471877"/>
            <ac:spMk id="480" creationId="{2A50F92A-AA8B-A240-F379-8EE812C5BDD3}"/>
          </ac:spMkLst>
        </pc:spChg>
        <pc:spChg chg="mod ord">
          <ac:chgData name="Sun, Wenlu" userId="53fe643b-d433-46a7-aebc-e8f4cd540df3" providerId="ADAL" clId="{9BC934C4-48EC-41BC-A2E5-682113C5B5A5}" dt="2026-06-04T10:47:40.661" v="11065"/>
          <ac:spMkLst>
            <pc:docMk/>
            <pc:sldMk cId="3178201612" sldId="2147471877"/>
            <ac:spMk id="481" creationId="{D62B095D-9038-79D5-FCBD-5BAC98A4D931}"/>
          </ac:spMkLst>
        </pc:spChg>
        <pc:spChg chg="mod">
          <ac:chgData name="Sun, Wenlu" userId="53fe643b-d433-46a7-aebc-e8f4cd540df3" providerId="ADAL" clId="{9BC934C4-48EC-41BC-A2E5-682113C5B5A5}" dt="2026-06-04T10:47:40.661" v="11091"/>
          <ac:spMkLst>
            <pc:docMk/>
            <pc:sldMk cId="3178201612" sldId="2147471877"/>
            <ac:spMk id="503" creationId="{53BD2B3B-A31B-EB19-5D5C-CECE357350C6}"/>
          </ac:spMkLst>
        </pc:spChg>
        <pc:spChg chg="mod">
          <ac:chgData name="Sun, Wenlu" userId="53fe643b-d433-46a7-aebc-e8f4cd540df3" providerId="ADAL" clId="{9BC934C4-48EC-41BC-A2E5-682113C5B5A5}" dt="2026-06-04T10:47:40.661" v="11090"/>
          <ac:spMkLst>
            <pc:docMk/>
            <pc:sldMk cId="3178201612" sldId="2147471877"/>
            <ac:spMk id="506" creationId="{80C703CA-8D1D-B34C-4164-4140E9560D70}"/>
          </ac:spMkLst>
        </pc:spChg>
        <pc:spChg chg="mod">
          <ac:chgData name="Sun, Wenlu" userId="53fe643b-d433-46a7-aebc-e8f4cd540df3" providerId="ADAL" clId="{9BC934C4-48EC-41BC-A2E5-682113C5B5A5}" dt="2026-06-04T10:47:40.677" v="11094"/>
          <ac:spMkLst>
            <pc:docMk/>
            <pc:sldMk cId="3178201612" sldId="2147471877"/>
            <ac:spMk id="546" creationId="{22892DE2-896E-13B0-6B06-64FF49CDB5DF}"/>
          </ac:spMkLst>
        </pc:spChg>
        <pc:spChg chg="mod">
          <ac:chgData name="Sun, Wenlu" userId="53fe643b-d433-46a7-aebc-e8f4cd540df3" providerId="ADAL" clId="{9BC934C4-48EC-41BC-A2E5-682113C5B5A5}" dt="2026-06-04T10:47:40.677" v="11095"/>
          <ac:spMkLst>
            <pc:docMk/>
            <pc:sldMk cId="3178201612" sldId="2147471877"/>
            <ac:spMk id="547" creationId="{DF1DD6CF-1507-C41D-E81E-5B3CBF72A690}"/>
          </ac:spMkLst>
        </pc:spChg>
        <pc:spChg chg="mod">
          <ac:chgData name="Sun, Wenlu" userId="53fe643b-d433-46a7-aebc-e8f4cd540df3" providerId="ADAL" clId="{9BC934C4-48EC-41BC-A2E5-682113C5B5A5}" dt="2026-06-04T10:47:40.677" v="11097"/>
          <ac:spMkLst>
            <pc:docMk/>
            <pc:sldMk cId="3178201612" sldId="2147471877"/>
            <ac:spMk id="548" creationId="{F88DC990-BFD4-9432-0FB5-9C31FD1254BD}"/>
          </ac:spMkLst>
        </pc:spChg>
        <pc:spChg chg="mod">
          <ac:chgData name="Sun, Wenlu" userId="53fe643b-d433-46a7-aebc-e8f4cd540df3" providerId="ADAL" clId="{9BC934C4-48EC-41BC-A2E5-682113C5B5A5}" dt="2026-06-04T10:47:40.677" v="11096"/>
          <ac:spMkLst>
            <pc:docMk/>
            <pc:sldMk cId="3178201612" sldId="2147471877"/>
            <ac:spMk id="549" creationId="{2E52E7CD-A1BA-6E1E-0A2E-3BBFBD3C4FCF}"/>
          </ac:spMkLst>
        </pc:spChg>
        <pc:spChg chg="mod ord">
          <ac:chgData name="Sun, Wenlu" userId="53fe643b-d433-46a7-aebc-e8f4cd540df3" providerId="ADAL" clId="{9BC934C4-48EC-41BC-A2E5-682113C5B5A5}" dt="2026-06-04T10:47:40.661" v="11063"/>
          <ac:spMkLst>
            <pc:docMk/>
            <pc:sldMk cId="3178201612" sldId="2147471877"/>
            <ac:spMk id="565" creationId="{23F7BB71-8758-5959-7806-5D852C275E95}"/>
          </ac:spMkLst>
        </pc:spChg>
        <pc:spChg chg="mod ord">
          <ac:chgData name="Sun, Wenlu" userId="53fe643b-d433-46a7-aebc-e8f4cd540df3" providerId="ADAL" clId="{9BC934C4-48EC-41BC-A2E5-682113C5B5A5}" dt="2026-06-04T10:47:40.661" v="11061"/>
          <ac:spMkLst>
            <pc:docMk/>
            <pc:sldMk cId="3178201612" sldId="2147471877"/>
            <ac:spMk id="568" creationId="{764491B1-1BBE-8B6A-04F3-F6EC4568238D}"/>
          </ac:spMkLst>
        </pc:spChg>
        <pc:spChg chg="mod ord">
          <ac:chgData name="Sun, Wenlu" userId="53fe643b-d433-46a7-aebc-e8f4cd540df3" providerId="ADAL" clId="{9BC934C4-48EC-41BC-A2E5-682113C5B5A5}" dt="2026-06-04T10:47:40.677" v="11099"/>
          <ac:spMkLst>
            <pc:docMk/>
            <pc:sldMk cId="3178201612" sldId="2147471877"/>
            <ac:spMk id="574" creationId="{5AD7AB1D-8BDF-1915-2F8A-698BD6A9EA4A}"/>
          </ac:spMkLst>
        </pc:spChg>
        <pc:spChg chg="mod">
          <ac:chgData name="Sun, Wenlu" userId="53fe643b-d433-46a7-aebc-e8f4cd540df3" providerId="ADAL" clId="{9BC934C4-48EC-41BC-A2E5-682113C5B5A5}" dt="2026-06-05T02:23:30.965" v="11372"/>
          <ac:spMkLst>
            <pc:docMk/>
            <pc:sldMk cId="3178201612" sldId="2147471877"/>
            <ac:spMk id="581" creationId="{A7A556CF-7BBE-A789-76D7-6F1CEDE637F2}"/>
          </ac:spMkLst>
        </pc:spChg>
        <pc:spChg chg="mod">
          <ac:chgData name="Sun, Wenlu" userId="53fe643b-d433-46a7-aebc-e8f4cd540df3" providerId="ADAL" clId="{9BC934C4-48EC-41BC-A2E5-682113C5B5A5}" dt="2026-06-05T02:22:54.375" v="11307"/>
          <ac:spMkLst>
            <pc:docMk/>
            <pc:sldMk cId="3178201612" sldId="2147471877"/>
            <ac:spMk id="582" creationId="{F3CEAC5E-76FA-5E3B-D5ED-98D0978AC8E0}"/>
          </ac:spMkLst>
        </pc:spChg>
        <pc:spChg chg="mod ord">
          <ac:chgData name="Sun, Wenlu" userId="53fe643b-d433-46a7-aebc-e8f4cd540df3" providerId="ADAL" clId="{9BC934C4-48EC-41BC-A2E5-682113C5B5A5}" dt="2026-06-05T02:22:54.375" v="11308" actId="948"/>
          <ac:spMkLst>
            <pc:docMk/>
            <pc:sldMk cId="3178201612" sldId="2147471877"/>
            <ac:spMk id="583" creationId="{ADA0A794-C029-282E-7981-303C0FCBC785}"/>
          </ac:spMkLst>
        </pc:spChg>
        <pc:spChg chg="mod ord">
          <ac:chgData name="Sun, Wenlu" userId="53fe643b-d433-46a7-aebc-e8f4cd540df3" providerId="ADAL" clId="{9BC934C4-48EC-41BC-A2E5-682113C5B5A5}" dt="2026-06-05T03:30:45.302" v="11745" actId="20577"/>
          <ac:spMkLst>
            <pc:docMk/>
            <pc:sldMk cId="3178201612" sldId="2147471877"/>
            <ac:spMk id="597" creationId="{AD5A663A-46B0-A946-732E-57ACC4E16DDD}"/>
          </ac:spMkLst>
        </pc:spChg>
        <pc:spChg chg="mod ord">
          <ac:chgData name="Sun, Wenlu" userId="53fe643b-d433-46a7-aebc-e8f4cd540df3" providerId="ADAL" clId="{9BC934C4-48EC-41BC-A2E5-682113C5B5A5}" dt="2026-06-05T02:25:34.074" v="11384" actId="555"/>
          <ac:spMkLst>
            <pc:docMk/>
            <pc:sldMk cId="3178201612" sldId="2147471877"/>
            <ac:spMk id="600" creationId="{BC009543-70F3-E0B2-0C84-71738BFC0B5D}"/>
          </ac:spMkLst>
        </pc:spChg>
        <pc:spChg chg="mod ord">
          <ac:chgData name="Sun, Wenlu" userId="53fe643b-d433-46a7-aebc-e8f4cd540df3" providerId="ADAL" clId="{9BC934C4-48EC-41BC-A2E5-682113C5B5A5}" dt="2026-06-05T02:25:34.074" v="11384" actId="555"/>
          <ac:spMkLst>
            <pc:docMk/>
            <pc:sldMk cId="3178201612" sldId="2147471877"/>
            <ac:spMk id="601" creationId="{AF9C6EB4-CCFD-48A5-79D2-4FD580520CF6}"/>
          </ac:spMkLst>
        </pc:spChg>
        <pc:spChg chg="mod ord">
          <ac:chgData name="Sun, Wenlu" userId="53fe643b-d433-46a7-aebc-e8f4cd540df3" providerId="ADAL" clId="{9BC934C4-48EC-41BC-A2E5-682113C5B5A5}" dt="2026-06-05T02:25:34.074" v="11384" actId="555"/>
          <ac:spMkLst>
            <pc:docMk/>
            <pc:sldMk cId="3178201612" sldId="2147471877"/>
            <ac:spMk id="602" creationId="{BB6C9B7A-335E-A830-8A2F-ABC868EADCCD}"/>
          </ac:spMkLst>
        </pc:spChg>
        <pc:grpChg chg="mod ord">
          <ac:chgData name="Sun, Wenlu" userId="53fe643b-d433-46a7-aebc-e8f4cd540df3" providerId="ADAL" clId="{9BC934C4-48EC-41BC-A2E5-682113C5B5A5}" dt="2026-06-04T10:47:40.661" v="11069"/>
          <ac:grpSpMkLst>
            <pc:docMk/>
            <pc:sldMk cId="3178201612" sldId="2147471877"/>
            <ac:grpSpMk id="5" creationId="{5EFFC916-3D64-CEAA-7349-17E7FDDB8DEE}"/>
          </ac:grpSpMkLst>
        </pc:grpChg>
        <pc:grpChg chg="mod ord">
          <ac:chgData name="Sun, Wenlu" userId="53fe643b-d433-46a7-aebc-e8f4cd540df3" providerId="ADAL" clId="{9BC934C4-48EC-41BC-A2E5-682113C5B5A5}" dt="2026-06-04T10:47:40.661" v="11071"/>
          <ac:grpSpMkLst>
            <pc:docMk/>
            <pc:sldMk cId="3178201612" sldId="2147471877"/>
            <ac:grpSpMk id="14" creationId="{0F48FE8F-6DDB-4C05-1E34-87073E36E309}"/>
          </ac:grpSpMkLst>
        </pc:grpChg>
        <pc:grpChg chg="mod ord">
          <ac:chgData name="Sun, Wenlu" userId="53fe643b-d433-46a7-aebc-e8f4cd540df3" providerId="ADAL" clId="{9BC934C4-48EC-41BC-A2E5-682113C5B5A5}" dt="2026-06-04T10:47:40.661" v="11073"/>
          <ac:grpSpMkLst>
            <pc:docMk/>
            <pc:sldMk cId="3178201612" sldId="2147471877"/>
            <ac:grpSpMk id="17" creationId="{0098E3F6-09B5-523B-CF2D-1C9396D0D354}"/>
          </ac:grpSpMkLst>
        </pc:grpChg>
        <pc:graphicFrameChg chg="mod">
          <ac:chgData name="Sun, Wenlu" userId="53fe643b-d433-46a7-aebc-e8f4cd540df3" providerId="ADAL" clId="{9BC934C4-48EC-41BC-A2E5-682113C5B5A5}" dt="2026-06-05T02:23:30.991" v="11374"/>
          <ac:graphicFrameMkLst>
            <pc:docMk/>
            <pc:sldMk cId="3178201612" sldId="2147471877"/>
            <ac:graphicFrameMk id="3" creationId="{63C7A1C4-821E-AC66-0B8F-E0F212127349}"/>
          </ac:graphicFrameMkLst>
        </pc:graphicFrameChg>
        <pc:graphicFrameChg chg="add del mod ord">
          <ac:chgData name="Sun, Wenlu" userId="53fe643b-d433-46a7-aebc-e8f4cd540df3" providerId="ADAL" clId="{9BC934C4-48EC-41BC-A2E5-682113C5B5A5}" dt="2026-06-04T10:47:40.630" v="11054"/>
          <ac:graphicFrameMkLst>
            <pc:docMk/>
            <pc:sldMk cId="3178201612" sldId="2147471877"/>
            <ac:graphicFrameMk id="7" creationId="{DE724019-8A8C-5356-0C3F-C9BF10E6F350}"/>
          </ac:graphicFrameMkLst>
        </pc:graphicFrameChg>
        <pc:graphicFrameChg chg="add del mod ord">
          <ac:chgData name="Sun, Wenlu" userId="53fe643b-d433-46a7-aebc-e8f4cd540df3" providerId="ADAL" clId="{9BC934C4-48EC-41BC-A2E5-682113C5B5A5}" dt="2026-06-04T10:06:17.831" v="10364"/>
          <ac:graphicFrameMkLst>
            <pc:docMk/>
            <pc:sldMk cId="3178201612" sldId="2147471877"/>
            <ac:graphicFrameMk id="10" creationId="{847BC575-DB61-7DA3-68E5-C81BAF6FA93A}"/>
          </ac:graphicFrameMkLst>
        </pc:graphicFrameChg>
        <pc:graphicFrameChg chg="add del mod ord">
          <ac:chgData name="Sun, Wenlu" userId="53fe643b-d433-46a7-aebc-e8f4cd540df3" providerId="ADAL" clId="{9BC934C4-48EC-41BC-A2E5-682113C5B5A5}" dt="2026-06-04T10:06:20.877" v="10437"/>
          <ac:graphicFrameMkLst>
            <pc:docMk/>
            <pc:sldMk cId="3178201612" sldId="2147471877"/>
            <ac:graphicFrameMk id="11" creationId="{813E81C7-6AA4-DAAC-A3AF-2DA8E5B244B3}"/>
          </ac:graphicFrameMkLst>
        </pc:graphicFrameChg>
        <pc:graphicFrameChg chg="add del mod ord">
          <ac:chgData name="Sun, Wenlu" userId="53fe643b-d433-46a7-aebc-e8f4cd540df3" providerId="ADAL" clId="{9BC934C4-48EC-41BC-A2E5-682113C5B5A5}" dt="2026-06-04T10:06:23.407" v="10510"/>
          <ac:graphicFrameMkLst>
            <pc:docMk/>
            <pc:sldMk cId="3178201612" sldId="2147471877"/>
            <ac:graphicFrameMk id="12" creationId="{D19D6CA9-5578-CA0C-71FC-790AD19878FD}"/>
          </ac:graphicFrameMkLst>
        </pc:graphicFrameChg>
        <pc:graphicFrameChg chg="add del mod ord">
          <ac:chgData name="Sun, Wenlu" userId="53fe643b-d433-46a7-aebc-e8f4cd540df3" providerId="ADAL" clId="{9BC934C4-48EC-41BC-A2E5-682113C5B5A5}" dt="2026-06-04T10:06:26.382" v="10583"/>
          <ac:graphicFrameMkLst>
            <pc:docMk/>
            <pc:sldMk cId="3178201612" sldId="2147471877"/>
            <ac:graphicFrameMk id="13" creationId="{99802B15-4C10-4895-3A09-F586C412321C}"/>
          </ac:graphicFrameMkLst>
        </pc:graphicFrameChg>
        <pc:graphicFrameChg chg="add mod ord">
          <ac:chgData name="Sun, Wenlu" userId="53fe643b-d433-46a7-aebc-e8f4cd540df3" providerId="ADAL" clId="{9BC934C4-48EC-41BC-A2E5-682113C5B5A5}" dt="2026-06-04T10:47:40.661" v="11087"/>
          <ac:graphicFrameMkLst>
            <pc:docMk/>
            <pc:sldMk cId="3178201612" sldId="2147471877"/>
            <ac:graphicFrameMk id="20" creationId="{5D71B261-82E4-4688-F3EC-C60FF8B9D200}"/>
          </ac:graphicFrameMkLst>
        </pc:graphicFrameChg>
        <pc:graphicFrameChg chg="add mod ord">
          <ac:chgData name="Sun, Wenlu" userId="53fe643b-d433-46a7-aebc-e8f4cd540df3" providerId="ADAL" clId="{9BC934C4-48EC-41BC-A2E5-682113C5B5A5}" dt="2026-06-04T10:47:40.677" v="11093"/>
          <ac:graphicFrameMkLst>
            <pc:docMk/>
            <pc:sldMk cId="3178201612" sldId="2147471877"/>
            <ac:graphicFrameMk id="27" creationId="{497E119D-B180-1229-4D60-C3845729F8F0}"/>
          </ac:graphicFrameMkLst>
        </pc:graphicFrameChg>
        <pc:graphicFrameChg chg="add mod ord">
          <ac:chgData name="Sun, Wenlu" userId="53fe643b-d433-46a7-aebc-e8f4cd540df3" providerId="ADAL" clId="{9BC934C4-48EC-41BC-A2E5-682113C5B5A5}" dt="2026-06-04T10:47:40.661" v="11075"/>
          <ac:graphicFrameMkLst>
            <pc:docMk/>
            <pc:sldMk cId="3178201612" sldId="2147471877"/>
            <ac:graphicFrameMk id="34" creationId="{B460CCCB-379E-6439-22C3-DFB9C1D61558}"/>
          </ac:graphicFrameMkLst>
        </pc:graphicFrameChg>
        <pc:graphicFrameChg chg="add del mod ord">
          <ac:chgData name="Sun, Wenlu" userId="53fe643b-d433-46a7-aebc-e8f4cd540df3" providerId="ADAL" clId="{9BC934C4-48EC-41BC-A2E5-682113C5B5A5}" dt="2026-06-04T10:06:14.867" v="10291"/>
          <ac:graphicFrameMkLst>
            <pc:docMk/>
            <pc:sldMk cId="3178201612" sldId="2147471877"/>
            <ac:graphicFrameMk id="35" creationId="{018D860C-3929-5C03-40B2-056D83E8A2A9}"/>
          </ac:graphicFrameMkLst>
        </pc:graphicFrameChg>
        <pc:graphicFrameChg chg="add del mod ord">
          <ac:chgData name="Sun, Wenlu" userId="53fe643b-d433-46a7-aebc-e8f4cd540df3" providerId="ADAL" clId="{9BC934C4-48EC-41BC-A2E5-682113C5B5A5}" dt="2026-06-04T10:06:10.007" v="10208"/>
          <ac:graphicFrameMkLst>
            <pc:docMk/>
            <pc:sldMk cId="3178201612" sldId="2147471877"/>
            <ac:graphicFrameMk id="36" creationId="{0683B54C-4DA5-9E03-92A0-545490BC81A1}"/>
          </ac:graphicFrameMkLst>
        </pc:graphicFrameChg>
        <pc:graphicFrameChg chg="add mod ord">
          <ac:chgData name="Sun, Wenlu" userId="53fe643b-d433-46a7-aebc-e8f4cd540df3" providerId="ADAL" clId="{9BC934C4-48EC-41BC-A2E5-682113C5B5A5}" dt="2026-06-04T10:47:40.677" v="11101"/>
          <ac:graphicFrameMkLst>
            <pc:docMk/>
            <pc:sldMk cId="3178201612" sldId="2147471877"/>
            <ac:graphicFrameMk id="37" creationId="{C7D319A5-F1F2-D8E6-FE32-A5696D8D6153}"/>
          </ac:graphicFrameMkLst>
        </pc:graphicFrameChg>
        <pc:cxnChg chg="mod ord">
          <ac:chgData name="Sun, Wenlu" userId="53fe643b-d433-46a7-aebc-e8f4cd540df3" providerId="ADAL" clId="{9BC934C4-48EC-41BC-A2E5-682113C5B5A5}" dt="2026-06-04T10:47:40.661" v="11077"/>
          <ac:cxnSpMkLst>
            <pc:docMk/>
            <pc:sldMk cId="3178201612" sldId="2147471877"/>
            <ac:cxnSpMk id="21" creationId="{70AE52B0-CFD7-6CB1-0EC1-62EF0DD6C7AE}"/>
          </ac:cxnSpMkLst>
        </pc:cxnChg>
        <pc:cxnChg chg="mod ord">
          <ac:chgData name="Sun, Wenlu" userId="53fe643b-d433-46a7-aebc-e8f4cd540df3" providerId="ADAL" clId="{9BC934C4-48EC-41BC-A2E5-682113C5B5A5}" dt="2026-06-04T10:47:40.661" v="11079"/>
          <ac:cxnSpMkLst>
            <pc:docMk/>
            <pc:sldMk cId="3178201612" sldId="2147471877"/>
            <ac:cxnSpMk id="22" creationId="{EBCC87C7-7A6D-D6C7-F064-EA8655DE3E88}"/>
          </ac:cxnSpMkLst>
        </pc:cxnChg>
        <pc:cxnChg chg="mod ord">
          <ac:chgData name="Sun, Wenlu" userId="53fe643b-d433-46a7-aebc-e8f4cd540df3" providerId="ADAL" clId="{9BC934C4-48EC-41BC-A2E5-682113C5B5A5}" dt="2026-06-04T10:47:40.661" v="11081"/>
          <ac:cxnSpMkLst>
            <pc:docMk/>
            <pc:sldMk cId="3178201612" sldId="2147471877"/>
            <ac:cxnSpMk id="23" creationId="{050F1092-C356-14DF-6BD9-0A7A91D34D84}"/>
          </ac:cxnSpMkLst>
        </pc:cxnChg>
        <pc:cxnChg chg="mod ord">
          <ac:chgData name="Sun, Wenlu" userId="53fe643b-d433-46a7-aebc-e8f4cd540df3" providerId="ADAL" clId="{9BC934C4-48EC-41BC-A2E5-682113C5B5A5}" dt="2026-06-04T10:47:40.677" v="11103"/>
          <ac:cxnSpMkLst>
            <pc:docMk/>
            <pc:sldMk cId="3178201612" sldId="2147471877"/>
            <ac:cxnSpMk id="578" creationId="{0F4DBCAB-48B8-0750-A0E7-3611EA34717A}"/>
          </ac:cxnSpMkLst>
        </pc:cxnChg>
        <pc:cxnChg chg="mod ord">
          <ac:chgData name="Sun, Wenlu" userId="53fe643b-d433-46a7-aebc-e8f4cd540df3" providerId="ADAL" clId="{9BC934C4-48EC-41BC-A2E5-682113C5B5A5}" dt="2026-06-04T10:47:40.677" v="11105"/>
          <ac:cxnSpMkLst>
            <pc:docMk/>
            <pc:sldMk cId="3178201612" sldId="2147471877"/>
            <ac:cxnSpMk id="579" creationId="{C77F124A-066F-9819-32C2-14BE71244AB4}"/>
          </ac:cxnSpMkLst>
        </pc:cxnChg>
        <pc:cxnChg chg="mod ord">
          <ac:chgData name="Sun, Wenlu" userId="53fe643b-d433-46a7-aebc-e8f4cd540df3" providerId="ADAL" clId="{9BC934C4-48EC-41BC-A2E5-682113C5B5A5}" dt="2026-06-04T10:47:40.677" v="11107"/>
          <ac:cxnSpMkLst>
            <pc:docMk/>
            <pc:sldMk cId="3178201612" sldId="2147471877"/>
            <ac:cxnSpMk id="580" creationId="{3BBE5866-A705-FBA5-87E5-931CF7625F59}"/>
          </ac:cxnSpMkLst>
        </pc:cxnChg>
      </pc:sldChg>
      <pc:sldChg chg="addSp delSp modSp mod">
        <pc:chgData name="Sun, Wenlu" userId="53fe643b-d433-46a7-aebc-e8f4cd540df3" providerId="ADAL" clId="{9BC934C4-48EC-41BC-A2E5-682113C5B5A5}" dt="2026-06-04T10:08:36.119" v="10675"/>
        <pc:sldMkLst>
          <pc:docMk/>
          <pc:sldMk cId="4116623450" sldId="2147471878"/>
        </pc:sldMkLst>
        <pc:spChg chg="mod">
          <ac:chgData name="Sun, Wenlu" userId="53fe643b-d433-46a7-aebc-e8f4cd540df3" providerId="ADAL" clId="{9BC934C4-48EC-41BC-A2E5-682113C5B5A5}" dt="2026-06-02T06:25:43.313" v="7558" actId="1076"/>
          <ac:spMkLst>
            <pc:docMk/>
            <pc:sldMk cId="4116623450" sldId="2147471878"/>
            <ac:spMk id="2" creationId="{ADB0C0E9-1BA7-EDCA-642F-6CAFF63E2DEF}"/>
          </ac:spMkLst>
        </pc:spChg>
        <pc:spChg chg="add mod">
          <ac:chgData name="Sun, Wenlu" userId="53fe643b-d433-46a7-aebc-e8f4cd540df3" providerId="ADAL" clId="{9BC934C4-48EC-41BC-A2E5-682113C5B5A5}" dt="2026-05-27T06:18:55.735" v="5447" actId="122"/>
          <ac:spMkLst>
            <pc:docMk/>
            <pc:sldMk cId="4116623450" sldId="2147471878"/>
            <ac:spMk id="4" creationId="{BD4D459A-F014-3E69-1FA9-BEA17D03D76D}"/>
          </ac:spMkLst>
        </pc:spChg>
        <pc:spChg chg="mod">
          <ac:chgData name="Sun, Wenlu" userId="53fe643b-d433-46a7-aebc-e8f4cd540df3" providerId="ADAL" clId="{9BC934C4-48EC-41BC-A2E5-682113C5B5A5}" dt="2026-06-02T06:09:52.084" v="7357" actId="1036"/>
          <ac:spMkLst>
            <pc:docMk/>
            <pc:sldMk cId="4116623450" sldId="2147471878"/>
            <ac:spMk id="8" creationId="{58D03B21-6BAF-F1EF-DA4B-4DD71CCDD690}"/>
          </ac:spMkLst>
        </pc:spChg>
        <pc:spChg chg="mod">
          <ac:chgData name="Sun, Wenlu" userId="53fe643b-d433-46a7-aebc-e8f4cd540df3" providerId="ADAL" clId="{9BC934C4-48EC-41BC-A2E5-682113C5B5A5}" dt="2026-05-27T06:16:54.612" v="5351" actId="20577"/>
          <ac:spMkLst>
            <pc:docMk/>
            <pc:sldMk cId="4116623450" sldId="2147471878"/>
            <ac:spMk id="9" creationId="{609DD841-0591-490A-07E4-5AC89052B9E8}"/>
          </ac:spMkLst>
        </pc:spChg>
        <pc:spChg chg="mod">
          <ac:chgData name="Sun, Wenlu" userId="53fe643b-d433-46a7-aebc-e8f4cd540df3" providerId="ADAL" clId="{9BC934C4-48EC-41BC-A2E5-682113C5B5A5}" dt="2026-06-04T10:07:10.163" v="10656" actId="2085"/>
          <ac:spMkLst>
            <pc:docMk/>
            <pc:sldMk cId="4116623450" sldId="2147471878"/>
            <ac:spMk id="10" creationId="{EF74DE25-9188-6971-B1EF-0F713A18D135}"/>
          </ac:spMkLst>
        </pc:spChg>
        <pc:graphicFrameChg chg="mod">
          <ac:chgData name="Sun, Wenlu" userId="53fe643b-d433-46a7-aebc-e8f4cd540df3" providerId="ADAL" clId="{9BC934C4-48EC-41BC-A2E5-682113C5B5A5}" dt="2026-06-04T01:40:00.567" v="9934"/>
          <ac:graphicFrameMkLst>
            <pc:docMk/>
            <pc:sldMk cId="4116623450" sldId="2147471878"/>
            <ac:graphicFrameMk id="3" creationId="{0AB815FE-BBE5-E9B9-DF49-5D625B6BD153}"/>
          </ac:graphicFrameMkLst>
        </pc:graphicFrameChg>
        <pc:graphicFrameChg chg="mod modGraphic">
          <ac:chgData name="Sun, Wenlu" userId="53fe643b-d433-46a7-aebc-e8f4cd540df3" providerId="ADAL" clId="{9BC934C4-48EC-41BC-A2E5-682113C5B5A5}" dt="2026-06-04T10:08:36.119" v="10675"/>
          <ac:graphicFrameMkLst>
            <pc:docMk/>
            <pc:sldMk cId="4116623450" sldId="2147471878"/>
            <ac:graphicFrameMk id="6" creationId="{1D947C6C-CB9E-9160-019D-D11FFA19E6FB}"/>
          </ac:graphicFrameMkLst>
        </pc:graphicFrameChg>
      </pc:sldChg>
      <pc:sldChg chg="addSp delSp modSp mod">
        <pc:chgData name="Sun, Wenlu" userId="53fe643b-d433-46a7-aebc-e8f4cd540df3" providerId="ADAL" clId="{9BC934C4-48EC-41BC-A2E5-682113C5B5A5}" dt="2026-06-05T02:35:21.318" v="11447" actId="20577"/>
        <pc:sldMkLst>
          <pc:docMk/>
          <pc:sldMk cId="3121939221" sldId="2147471879"/>
        </pc:sldMkLst>
        <pc:spChg chg="add mod">
          <ac:chgData name="Sun, Wenlu" userId="53fe643b-d433-46a7-aebc-e8f4cd540df3" providerId="ADAL" clId="{9BC934C4-48EC-41BC-A2E5-682113C5B5A5}" dt="2026-05-27T06:18:21.852" v="5441" actId="122"/>
          <ac:spMkLst>
            <pc:docMk/>
            <pc:sldMk cId="3121939221" sldId="2147471879"/>
            <ac:spMk id="4" creationId="{3A4DC24D-6F9B-8329-BCD5-12F0F6D6DF30}"/>
          </ac:spMkLst>
        </pc:spChg>
        <pc:spChg chg="mod">
          <ac:chgData name="Sun, Wenlu" userId="53fe643b-d433-46a7-aebc-e8f4cd540df3" providerId="ADAL" clId="{9BC934C4-48EC-41BC-A2E5-682113C5B5A5}" dt="2026-06-02T05:37:09.076" v="5767" actId="299"/>
          <ac:spMkLst>
            <pc:docMk/>
            <pc:sldMk cId="3121939221" sldId="2147471879"/>
            <ac:spMk id="5" creationId="{1978FEC8-0903-8E9F-3ED8-7DACFB4C07C8}"/>
          </ac:spMkLst>
        </pc:spChg>
        <pc:spChg chg="mod">
          <ac:chgData name="Sun, Wenlu" userId="53fe643b-d433-46a7-aebc-e8f4cd540df3" providerId="ADAL" clId="{9BC934C4-48EC-41BC-A2E5-682113C5B5A5}" dt="2026-06-02T05:37:32.507" v="5794" actId="1035"/>
          <ac:spMkLst>
            <pc:docMk/>
            <pc:sldMk cId="3121939221" sldId="2147471879"/>
            <ac:spMk id="6" creationId="{0949B57C-ABFB-A40C-2EFD-28A76EE54D31}"/>
          </ac:spMkLst>
        </pc:spChg>
        <pc:spChg chg="mod">
          <ac:chgData name="Sun, Wenlu" userId="53fe643b-d433-46a7-aebc-e8f4cd540df3" providerId="ADAL" clId="{9BC934C4-48EC-41BC-A2E5-682113C5B5A5}" dt="2026-06-02T06:24:24.810" v="7528" actId="947"/>
          <ac:spMkLst>
            <pc:docMk/>
            <pc:sldMk cId="3121939221" sldId="2147471879"/>
            <ac:spMk id="12" creationId="{B289CBB5-BB5D-9254-5C01-C4C251707BA5}"/>
          </ac:spMkLst>
        </pc:spChg>
        <pc:spChg chg="mod">
          <ac:chgData name="Sun, Wenlu" userId="53fe643b-d433-46a7-aebc-e8f4cd540df3" providerId="ADAL" clId="{9BC934C4-48EC-41BC-A2E5-682113C5B5A5}" dt="2026-06-02T05:37:32.507" v="5794" actId="1035"/>
          <ac:spMkLst>
            <pc:docMk/>
            <pc:sldMk cId="3121939221" sldId="2147471879"/>
            <ac:spMk id="14" creationId="{C3B548B6-8375-57B8-67BA-89B52507E614}"/>
          </ac:spMkLst>
        </pc:spChg>
        <pc:spChg chg="mod">
          <ac:chgData name="Sun, Wenlu" userId="53fe643b-d433-46a7-aebc-e8f4cd540df3" providerId="ADAL" clId="{9BC934C4-48EC-41BC-A2E5-682113C5B5A5}" dt="2026-06-02T05:37:32.507" v="5794" actId="1035"/>
          <ac:spMkLst>
            <pc:docMk/>
            <pc:sldMk cId="3121939221" sldId="2147471879"/>
            <ac:spMk id="18" creationId="{34DF2511-1505-71F8-99FD-0C7E597DDE71}"/>
          </ac:spMkLst>
        </pc:spChg>
        <pc:spChg chg="mod">
          <ac:chgData name="Sun, Wenlu" userId="53fe643b-d433-46a7-aebc-e8f4cd540df3" providerId="ADAL" clId="{9BC934C4-48EC-41BC-A2E5-682113C5B5A5}" dt="2026-06-02T05:37:32.507" v="5794" actId="1035"/>
          <ac:spMkLst>
            <pc:docMk/>
            <pc:sldMk cId="3121939221" sldId="2147471879"/>
            <ac:spMk id="36" creationId="{0DA92B7A-ED1B-E5F6-CD07-D3F98AD79B80}"/>
          </ac:spMkLst>
        </pc:spChg>
        <pc:spChg chg="mod">
          <ac:chgData name="Sun, Wenlu" userId="53fe643b-d433-46a7-aebc-e8f4cd540df3" providerId="ADAL" clId="{9BC934C4-48EC-41BC-A2E5-682113C5B5A5}" dt="2026-06-04T10:04:23.922" v="9948" actId="554"/>
          <ac:spMkLst>
            <pc:docMk/>
            <pc:sldMk cId="3121939221" sldId="2147471879"/>
            <ac:spMk id="41" creationId="{591B9AC9-8F4D-0E44-11E0-6C8C175B3505}"/>
          </ac:spMkLst>
        </pc:spChg>
        <pc:spChg chg="mod">
          <ac:chgData name="Sun, Wenlu" userId="53fe643b-d433-46a7-aebc-e8f4cd540df3" providerId="ADAL" clId="{9BC934C4-48EC-41BC-A2E5-682113C5B5A5}" dt="2026-06-04T10:04:23.922" v="9948" actId="554"/>
          <ac:spMkLst>
            <pc:docMk/>
            <pc:sldMk cId="3121939221" sldId="2147471879"/>
            <ac:spMk id="42" creationId="{D7F2E240-ADB5-8260-9D1C-51978ECA61A6}"/>
          </ac:spMkLst>
        </pc:spChg>
        <pc:spChg chg="mod">
          <ac:chgData name="Sun, Wenlu" userId="53fe643b-d433-46a7-aebc-e8f4cd540df3" providerId="ADAL" clId="{9BC934C4-48EC-41BC-A2E5-682113C5B5A5}" dt="2026-06-04T10:04:23.922" v="9948" actId="554"/>
          <ac:spMkLst>
            <pc:docMk/>
            <pc:sldMk cId="3121939221" sldId="2147471879"/>
            <ac:spMk id="43" creationId="{33C912AF-5621-688C-44F1-D058C26542D1}"/>
          </ac:spMkLst>
        </pc:spChg>
        <pc:spChg chg="mod">
          <ac:chgData name="Sun, Wenlu" userId="53fe643b-d433-46a7-aebc-e8f4cd540df3" providerId="ADAL" clId="{9BC934C4-48EC-41BC-A2E5-682113C5B5A5}" dt="2026-06-05T02:35:21.318" v="11447" actId="20577"/>
          <ac:spMkLst>
            <pc:docMk/>
            <pc:sldMk cId="3121939221" sldId="2147471879"/>
            <ac:spMk id="44" creationId="{51F1FB56-C1E6-4EF3-9ACF-D25DBB3110CC}"/>
          </ac:spMkLst>
        </pc:spChg>
        <pc:spChg chg="mod">
          <ac:chgData name="Sun, Wenlu" userId="53fe643b-d433-46a7-aebc-e8f4cd540df3" providerId="ADAL" clId="{9BC934C4-48EC-41BC-A2E5-682113C5B5A5}" dt="2026-06-02T05:37:32.507" v="5794" actId="1035"/>
          <ac:spMkLst>
            <pc:docMk/>
            <pc:sldMk cId="3121939221" sldId="2147471879"/>
            <ac:spMk id="49" creationId="{2B758F92-8A8C-5969-F5B9-F1BEE4631B19}"/>
          </ac:spMkLst>
        </pc:spChg>
        <pc:spChg chg="mod">
          <ac:chgData name="Sun, Wenlu" userId="53fe643b-d433-46a7-aebc-e8f4cd540df3" providerId="ADAL" clId="{9BC934C4-48EC-41BC-A2E5-682113C5B5A5}" dt="2026-05-19T10:46:18.912" v="958" actId="1038"/>
          <ac:spMkLst>
            <pc:docMk/>
            <pc:sldMk cId="3121939221" sldId="2147471879"/>
            <ac:spMk id="460" creationId="{67D038C1-EF05-AB33-1930-E714C9581A75}"/>
          </ac:spMkLst>
        </pc:spChg>
        <pc:grpChg chg="mod">
          <ac:chgData name="Sun, Wenlu" userId="53fe643b-d433-46a7-aebc-e8f4cd540df3" providerId="ADAL" clId="{9BC934C4-48EC-41BC-A2E5-682113C5B5A5}" dt="2026-06-02T05:37:32.507" v="5794" actId="1035"/>
          <ac:grpSpMkLst>
            <pc:docMk/>
            <pc:sldMk cId="3121939221" sldId="2147471879"/>
            <ac:grpSpMk id="467" creationId="{FD8FAC0B-166D-94AC-2784-E2CAF7BBD1A8}"/>
          </ac:grpSpMkLst>
        </pc:grpChg>
      </pc:sldChg>
      <pc:sldChg chg="addSp modSp mod">
        <pc:chgData name="Sun, Wenlu" userId="53fe643b-d433-46a7-aebc-e8f4cd540df3" providerId="ADAL" clId="{9BC934C4-48EC-41BC-A2E5-682113C5B5A5}" dt="2026-06-05T03:31:42.912" v="11795" actId="20577"/>
        <pc:sldMkLst>
          <pc:docMk/>
          <pc:sldMk cId="4159568667" sldId="2147471880"/>
        </pc:sldMkLst>
        <pc:spChg chg="add mod">
          <ac:chgData name="Sun, Wenlu" userId="53fe643b-d433-46a7-aebc-e8f4cd540df3" providerId="ADAL" clId="{9BC934C4-48EC-41BC-A2E5-682113C5B5A5}" dt="2026-05-27T06:19:02.326" v="5449" actId="122"/>
          <ac:spMkLst>
            <pc:docMk/>
            <pc:sldMk cId="4159568667" sldId="2147471880"/>
            <ac:spMk id="4" creationId="{1D3F9DB8-5C34-6DA9-734A-C8CD661E381C}"/>
          </ac:spMkLst>
        </pc:spChg>
        <pc:spChg chg="add mod">
          <ac:chgData name="Sun, Wenlu" userId="53fe643b-d433-46a7-aebc-e8f4cd540df3" providerId="ADAL" clId="{9BC934C4-48EC-41BC-A2E5-682113C5B5A5}" dt="2026-06-04T01:40:00.069" v="9932" actId="1076"/>
          <ac:spMkLst>
            <pc:docMk/>
            <pc:sldMk cId="4159568667" sldId="2147471880"/>
            <ac:spMk id="7" creationId="{07D21750-BB37-30BF-7E4E-9E3CE7931974}"/>
          </ac:spMkLst>
        </pc:spChg>
        <pc:spChg chg="mod">
          <ac:chgData name="Sun, Wenlu" userId="53fe643b-d433-46a7-aebc-e8f4cd540df3" providerId="ADAL" clId="{9BC934C4-48EC-41BC-A2E5-682113C5B5A5}" dt="2026-05-26T01:59:56.305" v="3663" actId="207"/>
          <ac:spMkLst>
            <pc:docMk/>
            <pc:sldMk cId="4159568667" sldId="2147471880"/>
            <ac:spMk id="9" creationId="{B740F899-3B3B-EFF1-41AF-6759D059A55A}"/>
          </ac:spMkLst>
        </pc:spChg>
        <pc:graphicFrameChg chg="mod">
          <ac:chgData name="Sun, Wenlu" userId="53fe643b-d433-46a7-aebc-e8f4cd540df3" providerId="ADAL" clId="{9BC934C4-48EC-41BC-A2E5-682113C5B5A5}" dt="2026-06-04T01:40:00.567" v="9936"/>
          <ac:graphicFrameMkLst>
            <pc:docMk/>
            <pc:sldMk cId="4159568667" sldId="2147471880"/>
            <ac:graphicFrameMk id="3" creationId="{6EA5C9D3-F50E-4973-574D-9C3B26D3EB7B}"/>
          </ac:graphicFrameMkLst>
        </pc:graphicFrameChg>
        <pc:graphicFrameChg chg="mod modGraphic">
          <ac:chgData name="Sun, Wenlu" userId="53fe643b-d433-46a7-aebc-e8f4cd540df3" providerId="ADAL" clId="{9BC934C4-48EC-41BC-A2E5-682113C5B5A5}" dt="2026-06-05T03:31:42.912" v="11795" actId="20577"/>
          <ac:graphicFrameMkLst>
            <pc:docMk/>
            <pc:sldMk cId="4159568667" sldId="2147471880"/>
            <ac:graphicFrameMk id="6" creationId="{D5E98261-FB9E-DB44-95B3-EF3543024460}"/>
          </ac:graphicFrameMkLst>
        </pc:graphicFrameChg>
        <pc:picChg chg="mod">
          <ac:chgData name="Sun, Wenlu" userId="53fe643b-d433-46a7-aebc-e8f4cd540df3" providerId="ADAL" clId="{9BC934C4-48EC-41BC-A2E5-682113C5B5A5}" dt="2026-06-03T03:38:40.755" v="9914" actId="1076"/>
          <ac:picMkLst>
            <pc:docMk/>
            <pc:sldMk cId="4159568667" sldId="2147471880"/>
            <ac:picMk id="2" creationId="{62464AFE-2F81-DD4D-4940-8626E2F711C7}"/>
          </ac:picMkLst>
        </pc:picChg>
        <pc:picChg chg="mod">
          <ac:chgData name="Sun, Wenlu" userId="53fe643b-d433-46a7-aebc-e8f4cd540df3" providerId="ADAL" clId="{9BC934C4-48EC-41BC-A2E5-682113C5B5A5}" dt="2026-06-03T03:38:29.561" v="9910" actId="14100"/>
          <ac:picMkLst>
            <pc:docMk/>
            <pc:sldMk cId="4159568667" sldId="2147471880"/>
            <ac:picMk id="5" creationId="{3E82704C-EE89-F43E-1650-80F427C6A490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085224641037517E-2"/>
          <c:y val="0.20768374164810691"/>
          <c:w val="0.95182955071792497"/>
          <c:h val="0.584632516703786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AAE-4ECD-B08E-5A168B6D0504}"/>
              </c:ext>
            </c:extLst>
          </c:dPt>
          <c:dLbls>
            <c:dLbl>
              <c:idx val="0"/>
              <c:layout>
                <c:manualLayout>
                  <c:x val="0"/>
                  <c:y val="-2.227171492204899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黑体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AAE-4ECD-B08E-5A168B6D0504}"/>
                </c:ext>
              </c:extLst>
            </c:dLbl>
            <c:dLbl>
              <c:idx val="1"/>
              <c:layout>
                <c:manualLayout>
                  <c:x val="0"/>
                  <c:y val="-0.1035634743875278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b="1" kern="1200">
                      <a:solidFill>
                        <a:srgbClr val="C00000"/>
                      </a:solidFill>
                      <a:latin typeface="+mn-lt"/>
                      <a:ea typeface="黑体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AAE-4ECD-B08E-5A168B6D050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9.9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AE-4ECD-B08E-5A168B6D0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100"/>
        <c:axId val="6920496"/>
        <c:axId val="1"/>
      </c:barChart>
      <c:catAx>
        <c:axId val="69204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DFE5E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.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9204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096385542168676E-2"/>
          <c:y val="0.31818181818181818"/>
          <c:w val="0.95180722891566261"/>
          <c:h val="0.4572192513368983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8B7-411F-A9E5-2464E3CCD35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8B7-411F-A9E5-2464E3CCD358}"/>
              </c:ext>
            </c:extLst>
          </c:dPt>
          <c:dLbls>
            <c:dLbl>
              <c:idx val="0"/>
              <c:layout>
                <c:manualLayout>
                  <c:x val="0"/>
                  <c:y val="-0.323529411764705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8B7-411F-A9E5-2464E3CCD358}"/>
                </c:ext>
              </c:extLst>
            </c:dLbl>
            <c:dLbl>
              <c:idx val="1"/>
              <c:layout>
                <c:manualLayout>
                  <c:x val="0"/>
                  <c:y val="-0.1069518716577540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8B7-411F-A9E5-2464E3CCD3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5.700000000000003</c:v>
                </c:pt>
                <c:pt idx="1">
                  <c:v>2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B7-411F-A9E5-2464E3CCD3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100"/>
        <c:axId val="1729616784"/>
        <c:axId val="1"/>
      </c:barChart>
      <c:catAx>
        <c:axId val="1729616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DFE5E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.70000000000000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296167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085224641037517E-2"/>
          <c:y val="0.46213592233009709"/>
          <c:w val="0.95182955071792497"/>
          <c:h val="0.2116504854368932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7B0-409B-811C-61F19E9F584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7B0-409B-811C-61F19E9F5847}"/>
              </c:ext>
            </c:extLst>
          </c:dPt>
          <c:dLbls>
            <c:dLbl>
              <c:idx val="0"/>
              <c:layout>
                <c:manualLayout>
                  <c:x val="0"/>
                  <c:y val="-0.2446601941747572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7B0-409B-811C-61F19E9F5847}"/>
                </c:ext>
              </c:extLst>
            </c:dLbl>
            <c:dLbl>
              <c:idx val="1"/>
              <c:layout>
                <c:manualLayout>
                  <c:x val="0"/>
                  <c:y val="-0.2330097087378640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7B0-409B-811C-61F19E9F584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.2000000000000002</c:v>
                </c:pt>
                <c:pt idx="1">
                  <c:v>2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B0-409B-811C-61F19E9F58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100"/>
        <c:axId val="1729708464"/>
        <c:axId val="1"/>
      </c:barChart>
      <c:catAx>
        <c:axId val="17297084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DFE5E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.200000000000000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297084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401689347724072E-2"/>
          <c:y val="0.20768374164810691"/>
          <c:w val="0.95119662130455185"/>
          <c:h val="0.584632516703786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33F-42A6-8AE9-A126E44BEBCD}"/>
              </c:ext>
            </c:extLst>
          </c:dPt>
          <c:dLbls>
            <c:dLbl>
              <c:idx val="0"/>
              <c:layout>
                <c:manualLayout>
                  <c:x val="0"/>
                  <c:y val="-2.227171492204899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黑体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33F-42A6-8AE9-A126E44BEBCD}"/>
                </c:ext>
              </c:extLst>
            </c:dLbl>
            <c:dLbl>
              <c:idx val="1"/>
              <c:layout>
                <c:manualLayout>
                  <c:x val="0"/>
                  <c:y val="-9.63251670378619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b="1" kern="1200">
                      <a:solidFill>
                        <a:srgbClr val="C00000"/>
                      </a:solidFill>
                      <a:latin typeface="+mn-lt"/>
                      <a:ea typeface="黑体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33F-42A6-8AE9-A126E44BEB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7.13</c:v>
                </c:pt>
                <c:pt idx="1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3F-42A6-8AE9-A126E44BEB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100"/>
        <c:axId val="6919056"/>
        <c:axId val="1"/>
      </c:barChart>
      <c:catAx>
        <c:axId val="69190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DFE5E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.1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69190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050" smtClean="0"/>
              <a:t>6/5/2026</a:t>
            </a:fld>
            <a:endParaRPr lang="en-US" sz="105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050" smtClean="0"/>
              <a:t>‹#›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349250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" y="9627032"/>
            <a:ext cx="6796102" cy="2994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79768" y="3919580"/>
            <a:ext cx="5438140" cy="55846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4625" indent="-174625" algn="l" defTabSz="914400" rtl="0" eaLnBrk="1" latinLnBrk="0" hangingPunct="1">
      <a:lnSpc>
        <a:spcPct val="90000"/>
      </a:lnSpc>
      <a:spcBef>
        <a:spcPts val="1200"/>
      </a:spcBef>
      <a:buClrTx/>
      <a:buSzPct val="100000"/>
      <a:buFont typeface="Arial" panose="020B0604020202020204" pitchFamily="34" charset="0"/>
      <a:buChar char="•"/>
      <a:tabLst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39725" indent="-114300" algn="l" defTabSz="914400" rtl="0" eaLnBrk="1" latinLnBrk="0" hangingPunct="1">
      <a:lnSpc>
        <a:spcPct val="90000"/>
      </a:lnSpc>
      <a:spcBef>
        <a:spcPts val="600"/>
      </a:spcBef>
      <a:buClrTx/>
      <a:buFont typeface="Arial" panose="020B0604020202020204" pitchFamily="34" charset="0"/>
      <a:buChar char="•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7525" indent="-119063" algn="l" defTabSz="914400" rtl="0" eaLnBrk="1" latinLnBrk="0" hangingPunct="1">
      <a:lnSpc>
        <a:spcPct val="90000"/>
      </a:lnSpc>
      <a:spcBef>
        <a:spcPts val="300"/>
      </a:spcBef>
      <a:buClrTx/>
      <a:buFont typeface="Arial" panose="020B0604020202020204" pitchFamily="34" charset="0"/>
      <a:buChar char="•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2625" indent="-114300" algn="l" defTabSz="914400" rtl="0" eaLnBrk="1" latinLnBrk="0" hangingPunct="1">
      <a:lnSpc>
        <a:spcPct val="90000"/>
      </a:lnSpc>
      <a:spcBef>
        <a:spcPts val="200"/>
      </a:spcBef>
      <a:buClrTx/>
      <a:buFont typeface="Arial" panose="020B0604020202020204" pitchFamily="34" charset="0"/>
      <a:buChar char="•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60425" indent="-114300" algn="l" defTabSz="914400" rtl="0" eaLnBrk="1" latinLnBrk="0" hangingPunct="1">
      <a:lnSpc>
        <a:spcPct val="90000"/>
      </a:lnSpc>
      <a:spcBef>
        <a:spcPts val="100"/>
      </a:spcBef>
      <a:buClrTx/>
      <a:buSzPct val="100000"/>
      <a:buFont typeface="Arial" panose="020B0604020202020204" pitchFamily="34" charset="0"/>
      <a:buChar char="•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581451-D7C3-7620-3074-DB873B424A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E0AB68A-664B-9BC0-7675-3C8F4DF036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6B9547C-C514-039A-7133-502B241459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25" indent="-174625"/>
            <a:endParaRPr lang="en-US" altLang="zh-CN" sz="800" b="0" i="0" dirty="0">
              <a:solidFill>
                <a:schemeClr val="bg1">
                  <a:lumMod val="65000"/>
                </a:schemeClr>
              </a:solidFill>
              <a:effectLst/>
              <a:latin typeface="+mj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C309C8C-8E22-F5D4-648D-0451A72FC5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74264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461132-B285-F91F-EA07-50BB7AC050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BCE0974-2FCB-5413-0452-397A890F1C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424D5144-DC46-D801-6B5F-F6107935CA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25" indent="-174625"/>
            <a:endParaRPr lang="en-US" altLang="zh-CN" sz="800" b="0" i="0" dirty="0">
              <a:solidFill>
                <a:schemeClr val="bg1">
                  <a:lumMod val="65000"/>
                </a:schemeClr>
              </a:solidFill>
              <a:effectLst/>
              <a:latin typeface="+mj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82DDFD7-9E3B-1A48-9458-9C5E3620DC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74724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5E4D49-02B9-9BD0-F8AC-00618870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51CBDB87-1A21-189E-92F4-8B1BEB2E15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A542FC2-5C22-87AD-471C-9F7E841D2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25" indent="-174625"/>
            <a:endParaRPr lang="en-US" altLang="zh-CN" sz="800" b="0" i="0" dirty="0">
              <a:solidFill>
                <a:schemeClr val="bg1">
                  <a:lumMod val="65000"/>
                </a:schemeClr>
              </a:solidFill>
              <a:effectLst/>
              <a:latin typeface="+mj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89FA8E1-ABEF-5EB9-3816-975B6DE073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3824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F3954A-76B6-77AD-C3DD-5371335A8F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F7B8B96-4DB4-2897-8C35-3583A03A74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DAE502B-6FBA-9032-0C05-DAE13C5805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25" indent="-174625"/>
            <a:endParaRPr lang="en-US" altLang="zh-CN" sz="800" b="0" i="0" dirty="0">
              <a:solidFill>
                <a:schemeClr val="bg1">
                  <a:lumMod val="65000"/>
                </a:schemeClr>
              </a:solidFill>
              <a:effectLst/>
              <a:latin typeface="+mj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610FEB8-4C4F-87B0-BCCB-9A8CD3896E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89910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659FBE-7EA0-4035-87FA-2D385D8CF5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3D8D01C-80A2-51AE-019F-9632AE8AC4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2516976-1AB7-9760-1E0C-37524DB2DF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25" indent="-174625"/>
            <a:endParaRPr lang="en-US" altLang="zh-CN" sz="800" b="0" i="0" dirty="0">
              <a:solidFill>
                <a:schemeClr val="bg1">
                  <a:lumMod val="65000"/>
                </a:schemeClr>
              </a:solidFill>
              <a:effectLst/>
              <a:latin typeface="+mj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959026A-4B10-F143-A143-FBF5519C7E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8384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16B436-947D-6607-E0E5-59EFF6E757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0A21105-F291-2BCE-F586-A63194597A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B08AE149-96F1-4AA2-86D9-BF4EFD55B3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25" indent="-174625"/>
            <a:endParaRPr lang="en-US" altLang="zh-CN" sz="800" b="0" i="0" dirty="0">
              <a:solidFill>
                <a:schemeClr val="bg1">
                  <a:lumMod val="65000"/>
                </a:schemeClr>
              </a:solidFill>
              <a:effectLst/>
              <a:latin typeface="+mj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1333DC0-C54A-DD1A-866D-405AA3EFDB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1001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C0C0ED-1715-CCA0-976B-208D68F163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A39A8D3A-E4B6-4251-2D2F-F23EA8FB5B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034CB49-482B-F4B9-A6CF-860FB951A0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25" indent="-174625"/>
            <a:endParaRPr lang="en-US" altLang="zh-CN" sz="800" b="0" i="0" dirty="0">
              <a:solidFill>
                <a:schemeClr val="bg1">
                  <a:lumMod val="65000"/>
                </a:schemeClr>
              </a:solidFill>
              <a:effectLst/>
              <a:latin typeface="+mj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4FBAF1D-B00E-AD11-00D5-FB50537BCE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309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7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9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0.xml"/><Relationship Id="rId4" Type="http://schemas.openxmlformats.org/officeDocument/2006/relationships/image" Target="../media/image2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4" Type="http://schemas.openxmlformats.org/officeDocument/2006/relationships/image" Target="../media/image3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4" Type="http://schemas.openxmlformats.org/officeDocument/2006/relationships/image" Target="../media/image2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4" Type="http://schemas.openxmlformats.org/officeDocument/2006/relationships/image" Target="../media/image2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4" Type="http://schemas.openxmlformats.org/officeDocument/2006/relationships/image" Target="../media/image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Relationship Id="rId4" Type="http://schemas.openxmlformats.org/officeDocument/2006/relationships/image" Target="../media/image2.emf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0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0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4" Type="http://schemas.openxmlformats.org/officeDocument/2006/relationships/image" Target="../media/image3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5.xml"/><Relationship Id="rId4" Type="http://schemas.openxmlformats.org/officeDocument/2006/relationships/image" Target="../media/image2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6.xml"/><Relationship Id="rId4" Type="http://schemas.openxmlformats.org/officeDocument/2006/relationships/image" Target="../media/image2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7.xml"/><Relationship Id="rId4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8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920816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207021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75EC00A-756B-4EBA-B22F-C5F151AF2938}"/>
              </a:ext>
            </a:extLst>
          </p:cNvPr>
          <p:cNvSpPr/>
          <p:nvPr userDrawn="1"/>
        </p:nvSpPr>
        <p:spPr bwMode="gray">
          <a:xfrm>
            <a:off x="10131552" y="6062472"/>
            <a:ext cx="1380744" cy="6675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381" tIns="45691" rIns="91381" bIns="45691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798" b="1" dirty="0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526914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117181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240592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694" indent="-342694">
              <a:buFont typeface="+mj-lt"/>
              <a:buAutoNum type="arabicPeriod"/>
              <a:defRPr/>
            </a:lvl1pPr>
            <a:lvl2pPr marL="571158" indent="-169761">
              <a:defRPr/>
            </a:lvl2pPr>
            <a:lvl3pPr marL="742504" indent="-171348">
              <a:defRPr/>
            </a:lvl3pPr>
            <a:lvl4pPr marL="970968" indent="-171348">
              <a:defRPr/>
            </a:lvl4pPr>
            <a:lvl5pPr marL="1170873" indent="-142789"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955720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970253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8" y="2368296"/>
            <a:ext cx="5486400" cy="3383280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643529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8" y="2368296"/>
            <a:ext cx="5486400" cy="3383280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725773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8" y="236829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8" y="447141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7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112510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8" y="236829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8" y="447141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051679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8"/>
            </a:lvl1pPr>
            <a:lvl2pPr marL="461685" indent="-233223">
              <a:defRPr sz="3198"/>
            </a:lvl2pPr>
            <a:lvl3pPr marL="737746" indent="-225289">
              <a:defRPr sz="2798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6597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99575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8">
                <a:solidFill>
                  <a:schemeClr val="bg1"/>
                </a:solidFill>
              </a:defRPr>
            </a:lvl1pPr>
            <a:lvl2pPr marL="461685" indent="-233223">
              <a:defRPr sz="3198">
                <a:solidFill>
                  <a:schemeClr val="bg1"/>
                </a:solidFill>
              </a:defRPr>
            </a:lvl2pPr>
            <a:lvl3pPr marL="737746" indent="-225289">
              <a:defRPr sz="2798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798" y="6346666"/>
            <a:ext cx="914400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800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451830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8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398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8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  <a:latin typeface="+mn-lt"/>
              </a:defRPr>
            </a:lvl1pPr>
            <a:lvl2pPr marL="399810" indent="0">
              <a:buNone/>
              <a:defRPr/>
            </a:lvl2pPr>
            <a:lvl3pPr marL="742504" indent="0">
              <a:buNone/>
              <a:defRPr/>
            </a:lvl3pPr>
            <a:lvl4pPr marL="1094717" indent="0">
              <a:buNone/>
              <a:defRPr/>
            </a:lvl4pPr>
            <a:lvl5pPr marL="13691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8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800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2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04" tIns="121804" rIns="121804" bIns="121804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5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16" name="Google Shape;53;p7">
            <a:extLst>
              <a:ext uri="{FF2B5EF4-FFF2-40B4-BE49-F238E27FC236}">
                <a16:creationId xmlns:a16="http://schemas.microsoft.com/office/drawing/2014/main" id="{63483A63-0824-4869-9D62-505F4D1762E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6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52959D39-1C92-4322-A1B8-3B2962E08FA3}"/>
              </a:ext>
            </a:extLst>
          </p:cNvPr>
          <p:cNvSpPr txBox="1"/>
          <p:nvPr userDrawn="1"/>
        </p:nvSpPr>
        <p:spPr bwMode="gray">
          <a:xfrm>
            <a:off x="1460335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696" tIns="45696" rIns="45696" bIns="45696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006635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8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  <a:latin typeface="+mn-lt"/>
              </a:defRPr>
            </a:lvl1pPr>
            <a:lvl2pPr marL="399810" indent="0">
              <a:buNone/>
              <a:defRPr/>
            </a:lvl2pPr>
            <a:lvl3pPr marL="742504" indent="0">
              <a:buNone/>
              <a:defRPr/>
            </a:lvl3pPr>
            <a:lvl4pPr marL="1094717" indent="0">
              <a:buNone/>
              <a:defRPr/>
            </a:lvl4pPr>
            <a:lvl5pPr marL="13691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8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8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2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04" tIns="121804" rIns="121804" bIns="121804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5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69943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832839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67114A-88D9-419E-8789-BF8AEF97EFE3}"/>
              </a:ext>
            </a:extLst>
          </p:cNvPr>
          <p:cNvSpPr txBox="1"/>
          <p:nvPr userDrawn="1"/>
        </p:nvSpPr>
        <p:spPr bwMode="gray">
          <a:xfrm>
            <a:off x="1116772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696" tIns="45696" rIns="45696" bIns="45696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775697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6772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696" tIns="45696" rIns="45696" bIns="45696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200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706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798" y="6343569"/>
            <a:ext cx="556276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2575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0695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-1"/>
            <a:ext cx="12188825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24002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55886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46391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0451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754614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48248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13712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67114A-88D9-419E-8789-BF8AEF97EFE3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490209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62625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95C8301-560A-4288-87CF-A448C694A055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56608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7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399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7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7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9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图片 18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20F08F02-88C3-42E3-9B23-FE6470AA97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59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32710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7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7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9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图片 14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AF23E74A-4CA9-447D-A3DB-02F327F267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59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731067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1999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18857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40492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2472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21063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797" indent="-342797">
              <a:buFont typeface="+mj-lt"/>
              <a:buAutoNum type="arabicPeriod"/>
              <a:defRPr/>
            </a:lvl1pPr>
            <a:lvl2pPr marL="571329" indent="-169812">
              <a:defRPr/>
            </a:lvl2pPr>
            <a:lvl3pPr marL="742727" indent="-171399">
              <a:defRPr/>
            </a:lvl3pPr>
            <a:lvl4pPr marL="971259" indent="-171399">
              <a:defRPr/>
            </a:lvl4pPr>
            <a:lvl5pPr marL="1171224" indent="-142832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57488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97971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37639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63824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92714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02289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/>
            </a:lvl1pPr>
            <a:lvl2pPr marL="461824" indent="-233293">
              <a:defRPr sz="3199"/>
            </a:lvl2pPr>
            <a:lvl3pPr marL="737967" indent="-225357">
              <a:defRPr sz="2799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86839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>
                <a:solidFill>
                  <a:schemeClr val="bg1"/>
                </a:solidFill>
              </a:defRPr>
            </a:lvl1pPr>
            <a:lvl2pPr marL="461824" indent="-233293">
              <a:defRPr sz="3199">
                <a:solidFill>
                  <a:schemeClr val="bg1"/>
                </a:solidFill>
              </a:defRPr>
            </a:lvl2pPr>
            <a:lvl3pPr marL="737967" indent="-225357">
              <a:defRPr sz="2799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9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798" y="6343569"/>
            <a:ext cx="556276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69942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64371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7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399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7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7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9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AE9DC57F-4075-4E93-8D81-FAB69FF4B186}"/>
              </a:ext>
            </a:extLst>
          </p:cNvPr>
          <p:cNvSpPr/>
          <p:nvPr userDrawn="1"/>
        </p:nvSpPr>
        <p:spPr bwMode="gray">
          <a:xfrm>
            <a:off x="1520825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799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30628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7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7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9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75331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66351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-1"/>
            <a:ext cx="12188825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08" rIns="0" bIns="45708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99" dirty="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799" y="326296"/>
            <a:ext cx="587631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782861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12188825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799" y="326296"/>
            <a:ext cx="587631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08" rIns="0" bIns="45708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99" dirty="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058307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7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7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9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5347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75EC00A-756B-4EBA-B22F-C5F151AF2938}"/>
              </a:ext>
            </a:extLst>
          </p:cNvPr>
          <p:cNvSpPr/>
          <p:nvPr userDrawn="1"/>
        </p:nvSpPr>
        <p:spPr bwMode="gray">
          <a:xfrm>
            <a:off x="10131552" y="6062472"/>
            <a:ext cx="1380744" cy="6675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799" b="1" dirty="0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0649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47274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07241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797" indent="-342797">
              <a:buFont typeface="+mj-lt"/>
              <a:buAutoNum type="arabicPeriod"/>
              <a:defRPr/>
            </a:lvl1pPr>
            <a:lvl2pPr marL="571329" indent="-169812">
              <a:defRPr/>
            </a:lvl2pPr>
            <a:lvl3pPr marL="742727" indent="-171399">
              <a:defRPr/>
            </a:lvl3pPr>
            <a:lvl4pPr marL="971259" indent="-171399">
              <a:defRPr/>
            </a:lvl4pPr>
            <a:lvl5pPr marL="1171224" indent="-142832"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237240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40194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62456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95468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378584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940845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941735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/>
            </a:lvl1pPr>
            <a:lvl2pPr marL="461824" indent="-233293">
              <a:defRPr sz="3199"/>
            </a:lvl2pPr>
            <a:lvl3pPr marL="737967" indent="-225357">
              <a:defRPr sz="2799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79305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>
                <a:solidFill>
                  <a:schemeClr val="bg1"/>
                </a:solidFill>
              </a:defRPr>
            </a:lvl1pPr>
            <a:lvl2pPr marL="461824" indent="-233293">
              <a:defRPr sz="3199">
                <a:solidFill>
                  <a:schemeClr val="bg1"/>
                </a:solidFill>
              </a:defRPr>
            </a:lvl2pPr>
            <a:lvl3pPr marL="737967" indent="-225357">
              <a:defRPr sz="2799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9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34056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7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399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7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7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9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16" name="Google Shape;53;p7">
            <a:extLst>
              <a:ext uri="{FF2B5EF4-FFF2-40B4-BE49-F238E27FC236}">
                <a16:creationId xmlns:a16="http://schemas.microsoft.com/office/drawing/2014/main" id="{63483A63-0824-4869-9D62-505F4D1762E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52959D39-1C92-4322-A1B8-3B2962E08FA3}"/>
              </a:ext>
            </a:extLst>
          </p:cNvPr>
          <p:cNvSpPr txBox="1"/>
          <p:nvPr userDrawn="1"/>
        </p:nvSpPr>
        <p:spPr bwMode="gray">
          <a:xfrm>
            <a:off x="1460335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45708" rIns="45708" bIns="45708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96401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7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7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9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69942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74990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67114A-88D9-419E-8789-BF8AEF97EFE3}"/>
              </a:ext>
            </a:extLst>
          </p:cNvPr>
          <p:cNvSpPr txBox="1"/>
          <p:nvPr userDrawn="1"/>
        </p:nvSpPr>
        <p:spPr bwMode="gray">
          <a:xfrm>
            <a:off x="1116771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45708" rIns="45708" bIns="45708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45339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6771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45708" rIns="45708" bIns="45708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1009433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7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399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7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7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9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8239103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7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7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9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892568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838573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1999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02477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9771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80624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797" indent="-342797">
              <a:buFont typeface="+mj-lt"/>
              <a:buAutoNum type="arabicPeriod"/>
              <a:defRPr/>
            </a:lvl1pPr>
            <a:lvl2pPr marL="571329" indent="-169812">
              <a:defRPr/>
            </a:lvl2pPr>
            <a:lvl3pPr marL="742727" indent="-171399">
              <a:defRPr/>
            </a:lvl3pPr>
            <a:lvl4pPr marL="971259" indent="-171399">
              <a:defRPr/>
            </a:lvl4pPr>
            <a:lvl5pPr marL="1171224" indent="-142832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44934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99135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39571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56781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292498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07005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/>
            </a:lvl1pPr>
            <a:lvl2pPr marL="461824" indent="-233293">
              <a:defRPr sz="3199"/>
            </a:lvl2pPr>
            <a:lvl3pPr marL="737967" indent="-225357">
              <a:defRPr sz="2799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79780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39341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>
                <a:solidFill>
                  <a:schemeClr val="bg1"/>
                </a:solidFill>
              </a:defRPr>
            </a:lvl1pPr>
            <a:lvl2pPr marL="461824" indent="-233293">
              <a:defRPr sz="3199">
                <a:solidFill>
                  <a:schemeClr val="bg1"/>
                </a:solidFill>
              </a:defRPr>
            </a:lvl2pPr>
            <a:lvl3pPr marL="737967" indent="-225357">
              <a:defRPr sz="2799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9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798" y="6343569"/>
            <a:ext cx="556276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69942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15680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7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399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7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7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9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2996507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7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7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9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8647322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-1"/>
            <a:ext cx="12188825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08" rIns="0" bIns="45708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99" dirty="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799" y="326296"/>
            <a:ext cx="587631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75883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12188825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799" y="326296"/>
            <a:ext cx="587631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08" rIns="0" bIns="45708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99" dirty="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134585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7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7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9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119717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/>
            </a:lvl1pPr>
            <a:lvl2pPr marL="461824" indent="-233293">
              <a:defRPr sz="3199"/>
            </a:lvl2pPr>
            <a:lvl3pPr marL="737967" indent="-225357">
              <a:defRPr sz="2799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587402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>
                <a:solidFill>
                  <a:schemeClr val="bg1"/>
                </a:solidFill>
              </a:defRPr>
            </a:lvl1pPr>
            <a:lvl2pPr marL="461824" indent="-233293">
              <a:defRPr sz="3199">
                <a:solidFill>
                  <a:schemeClr val="bg1"/>
                </a:solidFill>
              </a:defRPr>
            </a:lvl2pPr>
            <a:lvl3pPr marL="737967" indent="-225357">
              <a:defRPr sz="2799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9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061099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7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7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9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69942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184232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67114A-88D9-419E-8789-BF8AEF97EFE3}"/>
              </a:ext>
            </a:extLst>
          </p:cNvPr>
          <p:cNvSpPr txBox="1"/>
          <p:nvPr userDrawn="1"/>
        </p:nvSpPr>
        <p:spPr bwMode="gray">
          <a:xfrm>
            <a:off x="1116771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45708" rIns="45708" bIns="45708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29810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278441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6771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45708" rIns="45708" bIns="45708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4673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797" indent="-342797">
              <a:buFont typeface="+mj-lt"/>
              <a:buAutoNum type="arabicPeriod"/>
              <a:defRPr/>
            </a:lvl1pPr>
            <a:lvl2pPr marL="571329" indent="-169812">
              <a:defRPr/>
            </a:lvl2pPr>
            <a:lvl3pPr marL="742727" indent="-171399">
              <a:defRPr/>
            </a:lvl3pPr>
            <a:lvl4pPr marL="971259" indent="-171399">
              <a:defRPr/>
            </a:lvl4pPr>
            <a:lvl5pPr marL="1171224" indent="-142832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95C8301-560A-4288-87CF-A448C694A055}"/>
              </a:ext>
            </a:extLst>
          </p:cNvPr>
          <p:cNvSpPr txBox="1"/>
          <p:nvPr userDrawn="1"/>
        </p:nvSpPr>
        <p:spPr bwMode="gray">
          <a:xfrm>
            <a:off x="1116771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08" tIns="45708" rIns="45708" bIns="45708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04626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8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398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8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  <a:latin typeface="+mn-lt"/>
              </a:defRPr>
            </a:lvl1pPr>
            <a:lvl2pPr marL="399810" indent="0">
              <a:buNone/>
              <a:defRPr/>
            </a:lvl2pPr>
            <a:lvl3pPr marL="742504" indent="0">
              <a:buNone/>
              <a:defRPr/>
            </a:lvl3pPr>
            <a:lvl4pPr marL="1094717" indent="0">
              <a:buNone/>
              <a:defRPr/>
            </a:lvl4pPr>
            <a:lvl5pPr marL="13691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8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800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2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04" tIns="121804" rIns="121804" bIns="121804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5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6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图片 18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20F08F02-88C3-42E3-9B23-FE6470AA97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61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55540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8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  <a:latin typeface="+mn-lt"/>
              </a:defRPr>
            </a:lvl1pPr>
            <a:lvl2pPr marL="399810" indent="0">
              <a:buNone/>
              <a:defRPr/>
            </a:lvl2pPr>
            <a:lvl3pPr marL="742504" indent="0">
              <a:buNone/>
              <a:defRPr/>
            </a:lvl3pPr>
            <a:lvl4pPr marL="1094717" indent="0">
              <a:buNone/>
              <a:defRPr/>
            </a:lvl4pPr>
            <a:lvl5pPr marL="13691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8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8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2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04" tIns="121804" rIns="121804" bIns="121804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5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6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图片 14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AF23E74A-4CA9-447D-A3DB-02F327F267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61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4124063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1998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287806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669425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381876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694" indent="-342694">
              <a:buFont typeface="+mj-lt"/>
              <a:buAutoNum type="arabicPeriod"/>
              <a:defRPr/>
            </a:lvl1pPr>
            <a:lvl2pPr marL="571158" indent="-169761">
              <a:defRPr/>
            </a:lvl2pPr>
            <a:lvl3pPr marL="742504" indent="-171348">
              <a:defRPr/>
            </a:lvl3pPr>
            <a:lvl4pPr marL="970968" indent="-171348">
              <a:defRPr/>
            </a:lvl4pPr>
            <a:lvl5pPr marL="1170873" indent="-142789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546760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03532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8" y="2368296"/>
            <a:ext cx="5486400" cy="3383280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29960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003477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8" y="2368296"/>
            <a:ext cx="5486400" cy="3383280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26999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8" y="236829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8" y="447141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7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728392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8" y="236829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6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8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8" y="447141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34" indent="-172934">
              <a:spcBef>
                <a:spcPts val="1000"/>
              </a:spcBef>
              <a:defRPr sz="1600"/>
            </a:lvl1pPr>
            <a:lvl2pPr marL="347455" indent="-118991">
              <a:spcBef>
                <a:spcPts val="500"/>
              </a:spcBef>
              <a:defRPr sz="1400"/>
            </a:lvl2pPr>
            <a:lvl3pPr marL="512455" indent="-107886">
              <a:spcBef>
                <a:spcPts val="200"/>
              </a:spcBef>
              <a:defRPr sz="1200"/>
            </a:lvl3pPr>
            <a:lvl4pPr marL="685388" indent="-109472">
              <a:spcBef>
                <a:spcPts val="200"/>
              </a:spcBef>
              <a:defRPr sz="1100"/>
            </a:lvl4pPr>
            <a:lvl5pPr marL="858322" indent="-11740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8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15607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8"/>
            </a:lvl1pPr>
            <a:lvl2pPr marL="461685" indent="-233223">
              <a:defRPr sz="3198"/>
            </a:lvl2pPr>
            <a:lvl3pPr marL="737746" indent="-225289">
              <a:defRPr sz="2798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00259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8">
                <a:solidFill>
                  <a:schemeClr val="bg1"/>
                </a:solidFill>
              </a:defRPr>
            </a:lvl1pPr>
            <a:lvl2pPr marL="461685" indent="-233223">
              <a:defRPr sz="3198">
                <a:solidFill>
                  <a:schemeClr val="bg1"/>
                </a:solidFill>
              </a:defRPr>
            </a:lvl2pPr>
            <a:lvl3pPr marL="737746" indent="-225289">
              <a:defRPr sz="2798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800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798" y="6343569"/>
            <a:ext cx="556276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69943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679640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8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398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8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  <a:latin typeface="+mn-lt"/>
              </a:defRPr>
            </a:lvl1pPr>
            <a:lvl2pPr marL="399810" indent="0">
              <a:buNone/>
              <a:defRPr/>
            </a:lvl2pPr>
            <a:lvl3pPr marL="742504" indent="0">
              <a:buNone/>
              <a:defRPr/>
            </a:lvl3pPr>
            <a:lvl4pPr marL="1094717" indent="0">
              <a:buNone/>
              <a:defRPr/>
            </a:lvl4pPr>
            <a:lvl5pPr marL="1369190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8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800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2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04" tIns="121804" rIns="121804" bIns="121804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5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6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AE9DC57F-4075-4E93-8D81-FAB69FF4B186}"/>
              </a:ext>
            </a:extLst>
          </p:cNvPr>
          <p:cNvSpPr/>
          <p:nvPr userDrawn="1"/>
        </p:nvSpPr>
        <p:spPr bwMode="gray">
          <a:xfrm>
            <a:off x="1520825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381" tIns="45691" rIns="91381" bIns="45691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798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21134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8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  <a:latin typeface="+mn-lt"/>
              </a:defRPr>
            </a:lvl1pPr>
            <a:lvl2pPr marL="399810" indent="0">
              <a:buNone/>
              <a:defRPr/>
            </a:lvl2pPr>
            <a:lvl3pPr marL="742504" indent="0">
              <a:buNone/>
              <a:defRPr/>
            </a:lvl3pPr>
            <a:lvl4pPr marL="1094717" indent="0">
              <a:buNone/>
              <a:defRPr/>
            </a:lvl4pPr>
            <a:lvl5pPr marL="13691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8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8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2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04" tIns="121804" rIns="121804" bIns="121804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5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6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19210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" y="-1"/>
            <a:ext cx="12188825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2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04" tIns="121804" rIns="121804" bIns="121804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5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696" rIns="0" bIns="45696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98" dirty="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800" y="326296"/>
            <a:ext cx="587631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6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8863617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" y="0"/>
            <a:ext cx="12188825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2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04" tIns="121804" rIns="121804" bIns="121804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5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800" y="326296"/>
            <a:ext cx="587631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5" dirty="0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696" rIns="0" bIns="45696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98" dirty="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6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7716197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8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  <a:latin typeface="+mn-lt"/>
              </a:defRPr>
            </a:lvl1pPr>
            <a:lvl2pPr marL="399810" indent="0">
              <a:buNone/>
              <a:defRPr/>
            </a:lvl2pPr>
            <a:lvl3pPr marL="742504" indent="0">
              <a:buNone/>
              <a:defRPr/>
            </a:lvl3pPr>
            <a:lvl4pPr marL="1094717" indent="0">
              <a:buNone/>
              <a:defRPr/>
            </a:lvl4pPr>
            <a:lvl5pPr marL="1369190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8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8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2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04" tIns="121804" rIns="121804" bIns="121804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5" dirty="0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6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00236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oleObject" Target="../embeddings/oleObject1.bin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9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78.xml"/><Relationship Id="rId34" Type="http://schemas.openxmlformats.org/officeDocument/2006/relationships/slideLayout" Target="../slideLayouts/slideLayout91.xml"/><Relationship Id="rId42" Type="http://schemas.openxmlformats.org/officeDocument/2006/relationships/slideLayout" Target="../slideLayouts/slideLayout99.xml"/><Relationship Id="rId47" Type="http://schemas.openxmlformats.org/officeDocument/2006/relationships/slideLayout" Target="../slideLayouts/slideLayout104.xml"/><Relationship Id="rId50" Type="http://schemas.openxmlformats.org/officeDocument/2006/relationships/slideLayout" Target="../slideLayouts/slideLayout107.xml"/><Relationship Id="rId55" Type="http://schemas.openxmlformats.org/officeDocument/2006/relationships/slideLayout" Target="../slideLayouts/slideLayout112.xml"/><Relationship Id="rId63" Type="http://schemas.openxmlformats.org/officeDocument/2006/relationships/image" Target="../media/image2.emf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4.xml"/><Relationship Id="rId40" Type="http://schemas.openxmlformats.org/officeDocument/2006/relationships/slideLayout" Target="../slideLayouts/slideLayout97.xml"/><Relationship Id="rId45" Type="http://schemas.openxmlformats.org/officeDocument/2006/relationships/slideLayout" Target="../slideLayouts/slideLayout102.xml"/><Relationship Id="rId53" Type="http://schemas.openxmlformats.org/officeDocument/2006/relationships/slideLayout" Target="../slideLayouts/slideLayout110.xml"/><Relationship Id="rId58" Type="http://schemas.openxmlformats.org/officeDocument/2006/relationships/theme" Target="../theme/theme2.xml"/><Relationship Id="rId5" Type="http://schemas.openxmlformats.org/officeDocument/2006/relationships/slideLayout" Target="../slideLayouts/slideLayout62.xml"/><Relationship Id="rId61" Type="http://schemas.openxmlformats.org/officeDocument/2006/relationships/oleObject" Target="../embeddings/oleObject4.bin"/><Relationship Id="rId1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92.xml"/><Relationship Id="rId43" Type="http://schemas.openxmlformats.org/officeDocument/2006/relationships/slideLayout" Target="../slideLayouts/slideLayout100.xml"/><Relationship Id="rId48" Type="http://schemas.openxmlformats.org/officeDocument/2006/relationships/slideLayout" Target="../slideLayouts/slideLayout105.xml"/><Relationship Id="rId56" Type="http://schemas.openxmlformats.org/officeDocument/2006/relationships/slideLayout" Target="../slideLayouts/slideLayout113.xml"/><Relationship Id="rId8" Type="http://schemas.openxmlformats.org/officeDocument/2006/relationships/slideLayout" Target="../slideLayouts/slideLayout65.xml"/><Relationship Id="rId51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5.xml"/><Relationship Id="rId46" Type="http://schemas.openxmlformats.org/officeDocument/2006/relationships/slideLayout" Target="../slideLayouts/slideLayout103.xml"/><Relationship Id="rId59" Type="http://schemas.openxmlformats.org/officeDocument/2006/relationships/tags" Target="../tags/tag63.xml"/><Relationship Id="rId20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98.xml"/><Relationship Id="rId54" Type="http://schemas.openxmlformats.org/officeDocument/2006/relationships/slideLayout" Target="../slideLayouts/slideLayout111.xml"/><Relationship Id="rId62" Type="http://schemas.openxmlformats.org/officeDocument/2006/relationships/image" Target="../media/image1.emf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slideLayout" Target="../slideLayouts/slideLayout93.xml"/><Relationship Id="rId49" Type="http://schemas.openxmlformats.org/officeDocument/2006/relationships/slideLayout" Target="../slideLayouts/slideLayout106.xml"/><Relationship Id="rId57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88.xml"/><Relationship Id="rId44" Type="http://schemas.openxmlformats.org/officeDocument/2006/relationships/slideLayout" Target="../slideLayouts/slideLayout101.xml"/><Relationship Id="rId52" Type="http://schemas.openxmlformats.org/officeDocument/2006/relationships/slideLayout" Target="../slideLayouts/slideLayout109.xml"/><Relationship Id="rId60" Type="http://schemas.openxmlformats.org/officeDocument/2006/relationships/tags" Target="../tags/tag64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/>
          </p:cNvGraphicFramePr>
          <p:nvPr userDrawn="1"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390738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1" imgW="663" imgH="664" progId="TCLayout.ActiveDocument.1">
                  <p:embed/>
                </p:oleObj>
              </mc:Choice>
              <mc:Fallback>
                <p:oleObj name="think-cell 幻灯片" r:id="rId61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796" y="1801368"/>
            <a:ext cx="11292840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798" y="484632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6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248904" y="6399391"/>
            <a:ext cx="835258" cy="33963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169C5A3E-4704-506C-8AC1-7CDB3BBD1012}"/>
              </a:ext>
            </a:extLst>
          </p:cNvPr>
          <p:cNvSpPr txBox="1"/>
          <p:nvPr userDrawn="1"/>
        </p:nvSpPr>
        <p:spPr bwMode="gray">
          <a:xfrm>
            <a:off x="1084162" y="6436401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59"/>
    </p:custDataLst>
    <p:extLst>
      <p:ext uri="{BB962C8B-B14F-4D97-AF65-F5344CB8AC3E}">
        <p14:creationId xmlns:p14="http://schemas.microsoft.com/office/powerpoint/2010/main" val="3684859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649" r:id="rId14"/>
    <p:sldLayoutId id="2147483674" r:id="rId15"/>
    <p:sldLayoutId id="2147483675" r:id="rId16"/>
    <p:sldLayoutId id="2147483676" r:id="rId17"/>
    <p:sldLayoutId id="2147483661" r:id="rId18"/>
    <p:sldLayoutId id="2147483667" r:id="rId19"/>
    <p:sldLayoutId id="2147483668" r:id="rId20"/>
    <p:sldLayoutId id="2147483679" r:id="rId21"/>
    <p:sldLayoutId id="2147483681" r:id="rId22"/>
    <p:sldLayoutId id="2147483682" r:id="rId23"/>
    <p:sldLayoutId id="2147483683" r:id="rId24"/>
    <p:sldLayoutId id="2147483749" r:id="rId25"/>
    <p:sldLayoutId id="2147483750" r:id="rId26"/>
    <p:sldLayoutId id="2147483751" r:id="rId27"/>
    <p:sldLayoutId id="2147483752" r:id="rId28"/>
    <p:sldLayoutId id="2147483753" r:id="rId29"/>
    <p:sldLayoutId id="2147483754" r:id="rId30"/>
    <p:sldLayoutId id="2147483755" r:id="rId31"/>
    <p:sldLayoutId id="2147483756" r:id="rId32"/>
    <p:sldLayoutId id="2147483757" r:id="rId33"/>
    <p:sldLayoutId id="2147483758" r:id="rId34"/>
    <p:sldLayoutId id="2147483759" r:id="rId35"/>
    <p:sldLayoutId id="2147483760" r:id="rId36"/>
    <p:sldLayoutId id="2147483761" r:id="rId37"/>
    <p:sldLayoutId id="2147483762" r:id="rId38"/>
    <p:sldLayoutId id="2147483763" r:id="rId39"/>
    <p:sldLayoutId id="2147483764" r:id="rId40"/>
    <p:sldLayoutId id="2147483765" r:id="rId41"/>
    <p:sldLayoutId id="2147483766" r:id="rId42"/>
    <p:sldLayoutId id="2147483767" r:id="rId43"/>
    <p:sldLayoutId id="2147483768" r:id="rId44"/>
    <p:sldLayoutId id="2147483769" r:id="rId45"/>
    <p:sldLayoutId id="2147483770" r:id="rId46"/>
    <p:sldLayoutId id="2147483771" r:id="rId47"/>
    <p:sldLayoutId id="2147483772" r:id="rId48"/>
    <p:sldLayoutId id="2147483773" r:id="rId49"/>
    <p:sldLayoutId id="2147483774" r:id="rId50"/>
    <p:sldLayoutId id="2147483775" r:id="rId51"/>
    <p:sldLayoutId id="2147483776" r:id="rId52"/>
    <p:sldLayoutId id="2147483777" r:id="rId53"/>
    <p:sldLayoutId id="2147483778" r:id="rId54"/>
    <p:sldLayoutId id="2147483779" r:id="rId55"/>
    <p:sldLayoutId id="2147483781" r:id="rId56"/>
    <p:sldLayoutId id="2147483782" r:id="rId57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/>
          </p:cNvGraphicFramePr>
          <p:nvPr userDrawn="1"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3849051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1" imgW="663" imgH="664" progId="TCLayout.ActiveDocument.1">
                  <p:embed/>
                </p:oleObj>
              </mc:Choice>
              <mc:Fallback>
                <p:oleObj name="think-cell 幻灯片" r:id="rId61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796" y="1801368"/>
            <a:ext cx="11292840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798" y="484632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799" y="326296"/>
            <a:ext cx="587631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6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248904" y="6399391"/>
            <a:ext cx="835258" cy="33963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169C5A3E-4704-506C-8AC1-7CDB3BBD1012}"/>
              </a:ext>
            </a:extLst>
          </p:cNvPr>
          <p:cNvSpPr txBox="1"/>
          <p:nvPr userDrawn="1"/>
        </p:nvSpPr>
        <p:spPr bwMode="gray">
          <a:xfrm>
            <a:off x="1084163" y="6436401"/>
            <a:ext cx="735457" cy="265610"/>
          </a:xfrm>
          <a:prstGeom prst="rect">
            <a:avLst/>
          </a:prstGeom>
        </p:spPr>
        <p:txBody>
          <a:bodyPr wrap="square" lIns="45708" tIns="45708" rIns="45708" bIns="45708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59"/>
    </p:custDataLst>
    <p:extLst>
      <p:ext uri="{BB962C8B-B14F-4D97-AF65-F5344CB8AC3E}">
        <p14:creationId xmlns:p14="http://schemas.microsoft.com/office/powerpoint/2010/main" val="2167950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  <p:sldLayoutId id="2147483798" r:id="rId15"/>
    <p:sldLayoutId id="2147483799" r:id="rId16"/>
    <p:sldLayoutId id="2147483800" r:id="rId17"/>
    <p:sldLayoutId id="2147483801" r:id="rId18"/>
    <p:sldLayoutId id="2147483802" r:id="rId19"/>
    <p:sldLayoutId id="2147483803" r:id="rId20"/>
    <p:sldLayoutId id="2147483804" r:id="rId21"/>
    <p:sldLayoutId id="2147483805" r:id="rId22"/>
    <p:sldLayoutId id="2147483806" r:id="rId23"/>
    <p:sldLayoutId id="2147483807" r:id="rId24"/>
    <p:sldLayoutId id="2147483808" r:id="rId25"/>
    <p:sldLayoutId id="2147483809" r:id="rId26"/>
    <p:sldLayoutId id="2147483810" r:id="rId27"/>
    <p:sldLayoutId id="2147483811" r:id="rId28"/>
    <p:sldLayoutId id="2147483812" r:id="rId29"/>
    <p:sldLayoutId id="2147483813" r:id="rId30"/>
    <p:sldLayoutId id="2147483814" r:id="rId31"/>
    <p:sldLayoutId id="2147483815" r:id="rId32"/>
    <p:sldLayoutId id="2147483816" r:id="rId33"/>
    <p:sldLayoutId id="2147483817" r:id="rId34"/>
    <p:sldLayoutId id="2147483818" r:id="rId35"/>
    <p:sldLayoutId id="2147483819" r:id="rId36"/>
    <p:sldLayoutId id="2147483820" r:id="rId37"/>
    <p:sldLayoutId id="2147483821" r:id="rId38"/>
    <p:sldLayoutId id="2147483822" r:id="rId39"/>
    <p:sldLayoutId id="2147483823" r:id="rId40"/>
    <p:sldLayoutId id="2147483824" r:id="rId41"/>
    <p:sldLayoutId id="2147483825" r:id="rId42"/>
    <p:sldLayoutId id="2147483826" r:id="rId43"/>
    <p:sldLayoutId id="2147483827" r:id="rId44"/>
    <p:sldLayoutId id="2147483828" r:id="rId45"/>
    <p:sldLayoutId id="2147483829" r:id="rId46"/>
    <p:sldLayoutId id="2147483830" r:id="rId47"/>
    <p:sldLayoutId id="2147483831" r:id="rId48"/>
    <p:sldLayoutId id="2147483832" r:id="rId49"/>
    <p:sldLayoutId id="2147483833" r:id="rId50"/>
    <p:sldLayoutId id="2147483834" r:id="rId51"/>
    <p:sldLayoutId id="2147483835" r:id="rId52"/>
    <p:sldLayoutId id="2147483836" r:id="rId53"/>
    <p:sldLayoutId id="2147483837" r:id="rId54"/>
    <p:sldLayoutId id="2147483838" r:id="rId55"/>
    <p:sldLayoutId id="2147483839" r:id="rId56"/>
    <p:sldLayoutId id="2147483840" r:id="rId57"/>
  </p:sldLayoutIdLst>
  <p:txStyles>
    <p:titleStyle>
      <a:lvl1pPr algn="l" defTabSz="914126" rtl="0" eaLnBrk="1" latinLnBrk="0" hangingPunct="1">
        <a:lnSpc>
          <a:spcPct val="85000"/>
        </a:lnSpc>
        <a:spcBef>
          <a:spcPts val="0"/>
        </a:spcBef>
        <a:buNone/>
        <a:defRPr lang="en-US" sz="2699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999"/>
        </a:spcBef>
        <a:buClrTx/>
        <a:buSzPct val="100000"/>
        <a:buFont typeface="Arial" panose="020B0604020202020204" pitchFamily="34" charset="0"/>
        <a:buChar char="•"/>
        <a:defRPr lang="en-US" sz="1999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063" indent="-169812" algn="l" defTabSz="914126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685594" indent="-171399" algn="l" defTabSz="914126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126" indent="-171399" algn="l" defTabSz="914126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8698" indent="-114266" algn="l" defTabSz="914126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4.xml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125.xml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7.xml"/><Relationship Id="rId6" Type="http://schemas.openxmlformats.org/officeDocument/2006/relationships/image" Target="../media/image12.sv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8.xml"/><Relationship Id="rId6" Type="http://schemas.openxmlformats.org/officeDocument/2006/relationships/image" Target="../media/image1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slideLayout" Target="../slideLayouts/slideLayout3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chart" Target="../charts/chart4.xml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image" Target="../media/image11.emf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chart" Target="../charts/chart3.xml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oleObject" Target="../embeddings/oleObject10.bin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chart" Target="../charts/chart2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notesSlide" Target="../notesSlides/notesSlide4.xml"/><Relationship Id="rId30" Type="http://schemas.openxmlformats.org/officeDocument/2006/relationships/chart" Target="../charts/chart1.xml"/><Relationship Id="rId8" Type="http://schemas.openxmlformats.org/officeDocument/2006/relationships/tags" Target="../tags/tag1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5.xml"/><Relationship Id="rId6" Type="http://schemas.openxmlformats.org/officeDocument/2006/relationships/image" Target="../media/image15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0841155"/>
              </p:ext>
            </p:ext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>
            <a:extLst>
              <a:ext uri="{FF2B5EF4-FFF2-40B4-BE49-F238E27FC236}">
                <a16:creationId xmlns:a16="http://schemas.microsoft.com/office/drawing/2014/main" id="{F00734E5-EEC2-D624-8064-88B158253FDE}"/>
              </a:ext>
            </a:extLst>
          </p:cNvPr>
          <p:cNvSpPr/>
          <p:nvPr/>
        </p:nvSpPr>
        <p:spPr bwMode="gray">
          <a:xfrm>
            <a:off x="4762" y="2900540"/>
            <a:ext cx="12184063" cy="1895578"/>
          </a:xfrm>
          <a:prstGeom prst="rect">
            <a:avLst/>
          </a:prstGeom>
          <a:solidFill>
            <a:srgbClr val="E1F5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600"/>
              </a:spcAft>
              <a:defRPr/>
            </a:pPr>
            <a:r>
              <a:rPr lang="en-US" altLang="zh-CN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新药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引领血友病非因子替代治疗新时代；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Aft>
                <a:spcPts val="1600"/>
              </a:spcAft>
              <a:defRPr/>
            </a:pPr>
            <a:r>
              <a:rPr kumimoji="0" lang="zh-CN" altLang="en-US" sz="2800" b="1" i="0" u="non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均出血次数降低</a:t>
            </a:r>
            <a:r>
              <a:rPr kumimoji="0" lang="en-US" altLang="zh-CN" sz="2800" b="1" i="0" u="non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2%</a:t>
            </a:r>
            <a:r>
              <a:rPr kumimoji="0" lang="zh-CN" altLang="en-US" sz="2800" b="1" i="0" u="non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安全性好，</a:t>
            </a:r>
            <a:r>
              <a:rPr kumimoji="0" lang="zh-CN" altLang="en-US" sz="2800" b="1" i="0" u="non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发生血栓事件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Aft>
                <a:spcPts val="1600"/>
              </a:spcAft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皮下注射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给药便利；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固定剂量，</a:t>
            </a:r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保好管理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2" name="Title 7">
            <a:extLst>
              <a:ext uri="{FF2B5EF4-FFF2-40B4-BE49-F238E27FC236}">
                <a16:creationId xmlns:a16="http://schemas.microsoft.com/office/drawing/2014/main" id="{3B1BD5AE-9FB7-B120-D8CD-18B94DAC71B2}"/>
              </a:ext>
            </a:extLst>
          </p:cNvPr>
          <p:cNvSpPr txBox="1">
            <a:spLocks/>
          </p:cNvSpPr>
          <p:nvPr/>
        </p:nvSpPr>
        <p:spPr bwMode="gray">
          <a:xfrm>
            <a:off x="81280" y="1425702"/>
            <a:ext cx="12019280" cy="1005578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58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马塔西单抗</a:t>
            </a:r>
            <a:r>
              <a:rPr kumimoji="0" lang="zh-CN" altLang="en-US" sz="5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注射液</a:t>
            </a:r>
            <a:endParaRPr kumimoji="0" lang="zh-CN" altLang="en-US" sz="5800" b="1" i="0" u="none" strike="noStrike" kern="120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089CDC1-D367-7ABD-2750-4E8CC21DEF75}"/>
              </a:ext>
            </a:extLst>
          </p:cNvPr>
          <p:cNvSpPr txBox="1">
            <a:spLocks/>
          </p:cNvSpPr>
          <p:nvPr/>
        </p:nvSpPr>
        <p:spPr>
          <a:xfrm>
            <a:off x="3977576" y="5411232"/>
            <a:ext cx="4233672" cy="105407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企业：辉瑞投资有限公司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1347834D-FCDF-AC28-0263-947ECF36811F}"/>
              </a:ext>
            </a:extLst>
          </p:cNvPr>
          <p:cNvSpPr/>
          <p:nvPr/>
        </p:nvSpPr>
        <p:spPr bwMode="gray">
          <a:xfrm>
            <a:off x="0" y="4068"/>
            <a:ext cx="2196353" cy="462097"/>
          </a:xfrm>
          <a:prstGeom prst="rect">
            <a:avLst/>
          </a:prstGeom>
          <a:solidFill>
            <a:srgbClr val="FFFF00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600" dirty="0">
                <a:solidFill>
                  <a:sysClr val="windowText" lastClr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PPT2</a:t>
            </a:r>
            <a:r>
              <a:rPr lang="zh-CN" altLang="en-US" sz="1600" dirty="0">
                <a:solidFill>
                  <a:sysClr val="windowText" lastClr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</a:t>
            </a:r>
            <a:r>
              <a:rPr lang="en-US" altLang="zh-CN" sz="1600" dirty="0">
                <a:solidFill>
                  <a:sysClr val="windowText" lastClr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(</a:t>
            </a:r>
            <a:r>
              <a:rPr lang="zh-CN" altLang="en-US" sz="1600" dirty="0">
                <a:solidFill>
                  <a:sysClr val="windowText" lastClr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不含公平性二</a:t>
            </a:r>
            <a:r>
              <a:rPr lang="en-US" altLang="zh-CN" sz="1600" dirty="0">
                <a:solidFill>
                  <a:sysClr val="windowText" lastClr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)</a:t>
            </a:r>
            <a:endParaRPr lang="zh-CN" altLang="en-US" sz="1600" dirty="0">
              <a:solidFill>
                <a:sysClr val="windowText" lastClr="0000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944901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688181"/>
              </p:ext>
            </p:extLst>
          </p:nvPr>
        </p:nvGraphicFramePr>
        <p:xfrm>
          <a:off x="4760" y="3372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60" y="3372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61BBAB6D-3331-4E8F-8A24-45B62E2C6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 anchorCtr="0">
            <a:noAutofit/>
          </a:bodyPr>
          <a:lstStyle/>
          <a:p>
            <a:r>
              <a:rPr lang="zh-CN" altLang="en-US" sz="2798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7366781F-AE36-48EE-AEA2-E0883BE851B9}"/>
              </a:ext>
            </a:extLst>
          </p:cNvPr>
          <p:cNvSpPr txBox="1"/>
          <p:nvPr/>
        </p:nvSpPr>
        <p:spPr bwMode="gray">
          <a:xfrm>
            <a:off x="2913965" y="426804"/>
            <a:ext cx="6358506" cy="6461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3578">
              <a:defRPr/>
            </a:pPr>
            <a:r>
              <a:rPr lang="zh-CN" altLang="en-US" sz="3599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马塔西单抗注射液</a:t>
            </a:r>
            <a:endParaRPr lang="en-US" altLang="zh-CN" sz="3599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F7F2FB29-4A57-B5B8-206E-BB9B59C5E977}"/>
              </a:ext>
            </a:extLst>
          </p:cNvPr>
          <p:cNvSpPr/>
          <p:nvPr/>
        </p:nvSpPr>
        <p:spPr bwMode="gray">
          <a:xfrm>
            <a:off x="787765" y="1638432"/>
            <a:ext cx="467878" cy="467878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en-US" altLang="zh-CN" sz="1799" b="1" dirty="0">
                <a:solidFill>
                  <a:srgbClr val="FFFFFF"/>
                </a:solidFill>
                <a:latin typeface="Arial" panose="020B0604020202020204"/>
                <a:ea typeface="黑体" panose="02010609060101010101" pitchFamily="49" charset="-122"/>
              </a:rPr>
              <a:t>1</a:t>
            </a:r>
            <a:endParaRPr lang="zh-CN" altLang="en-US" sz="1799" b="1" dirty="0">
              <a:solidFill>
                <a:srgbClr val="FFFFFF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3" name="矩形: 圆角 22">
            <a:extLst>
              <a:ext uri="{FF2B5EF4-FFF2-40B4-BE49-F238E27FC236}">
                <a16:creationId xmlns:a16="http://schemas.microsoft.com/office/drawing/2014/main" id="{BDDD87DE-28DF-3441-FD8A-B66B578E1267}"/>
              </a:ext>
            </a:extLst>
          </p:cNvPr>
          <p:cNvSpPr/>
          <p:nvPr/>
        </p:nvSpPr>
        <p:spPr bwMode="gray">
          <a:xfrm>
            <a:off x="1407256" y="1476474"/>
            <a:ext cx="1835522" cy="791794"/>
          </a:xfrm>
          <a:prstGeom prst="roundRect">
            <a:avLst>
              <a:gd name="adj" fmla="val 9751"/>
            </a:avLst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799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F1F6F310-A539-12E2-B692-FF6D7FAF9931}"/>
              </a:ext>
            </a:extLst>
          </p:cNvPr>
          <p:cNvSpPr txBox="1"/>
          <p:nvPr/>
        </p:nvSpPr>
        <p:spPr bwMode="gray">
          <a:xfrm>
            <a:off x="3394387" y="1476474"/>
            <a:ext cx="8343780" cy="791794"/>
          </a:xfrm>
          <a:prstGeom prst="rect">
            <a:avLst/>
          </a:prstGeom>
        </p:spPr>
        <p:txBody>
          <a:bodyPr wrap="none" lIns="45708" tIns="45708" rIns="45708" bIns="45708" rtlCol="0" anchor="ctr">
            <a:noAutofit/>
          </a:bodyPr>
          <a:lstStyle/>
          <a:p>
            <a:pPr marL="171399" indent="-171399" defTabSz="914126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友病成人患者治疗不足，导致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频繁出血高达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2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baseline="30000" dirty="0">
                <a:solidFill>
                  <a:srgbClr val="000000"/>
                </a:solidFill>
              </a:rPr>
              <a:t>1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残疾率高达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%</a:t>
            </a:r>
            <a:r>
              <a:rPr lang="en-US" altLang="zh-CN" sz="1400" baseline="30000" dirty="0">
                <a:solidFill>
                  <a:srgbClr val="000000"/>
                </a:solidFill>
              </a:rPr>
              <a:t>2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丧失社会功能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399" indent="-171399" defTabSz="914126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因子规律替代治疗将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改变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友病治疗格局，帮助患者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像健康人一样生活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68591647-C67C-2360-9020-0AAD190B90CF}"/>
              </a:ext>
            </a:extLst>
          </p:cNvPr>
          <p:cNvSpPr/>
          <p:nvPr/>
        </p:nvSpPr>
        <p:spPr bwMode="gray">
          <a:xfrm>
            <a:off x="787765" y="2615498"/>
            <a:ext cx="467878" cy="467878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en-US" altLang="zh-CN" sz="1799" b="1" dirty="0">
                <a:solidFill>
                  <a:srgbClr val="FFFFFF"/>
                </a:solidFill>
                <a:latin typeface="Arial" panose="020B0604020202020204"/>
                <a:ea typeface="黑体" panose="02010609060101010101" pitchFamily="49" charset="-122"/>
              </a:rPr>
              <a:t>2</a:t>
            </a:r>
            <a:endParaRPr lang="zh-CN" altLang="en-US" sz="1799" b="1" dirty="0">
              <a:solidFill>
                <a:srgbClr val="FFFFFF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" name="矩形: 圆角 1">
            <a:extLst>
              <a:ext uri="{FF2B5EF4-FFF2-40B4-BE49-F238E27FC236}">
                <a16:creationId xmlns:a16="http://schemas.microsoft.com/office/drawing/2014/main" id="{56C94AC9-AA80-20B8-6421-EE6FAD0190CF}"/>
              </a:ext>
            </a:extLst>
          </p:cNvPr>
          <p:cNvSpPr/>
          <p:nvPr/>
        </p:nvSpPr>
        <p:spPr bwMode="gray">
          <a:xfrm>
            <a:off x="1407256" y="2453540"/>
            <a:ext cx="1835522" cy="791794"/>
          </a:xfrm>
          <a:prstGeom prst="roundRect">
            <a:avLst>
              <a:gd name="adj" fmla="val 9751"/>
            </a:avLst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799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8F73649-7718-7482-C5A6-27E19CB71AA3}"/>
              </a:ext>
            </a:extLst>
          </p:cNvPr>
          <p:cNvSpPr txBox="1"/>
          <p:nvPr/>
        </p:nvSpPr>
        <p:spPr bwMode="gray">
          <a:xfrm>
            <a:off x="3394387" y="2453540"/>
            <a:ext cx="8343780" cy="791794"/>
          </a:xfrm>
          <a:prstGeom prst="rect">
            <a:avLst/>
          </a:prstGeom>
        </p:spPr>
        <p:txBody>
          <a:bodyPr wrap="square" lIns="45708" tIns="45708" rIns="45708" bIns="45708" rtlCol="0" anchor="ctr">
            <a:no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171399" indent="-171399" defTabSz="914126">
              <a:spcAft>
                <a:spcPts val="600"/>
              </a:spcAft>
              <a:buClr>
                <a:schemeClr val="tx1"/>
              </a:buClr>
              <a:defRPr/>
            </a:pPr>
            <a:r>
              <a:rPr lang="en-US" altLang="zh-CN" sz="1400" b="1" dirty="0">
                <a:solidFill>
                  <a:srgbClr val="C00000"/>
                </a:solidFill>
              </a:rPr>
              <a:t>1</a:t>
            </a:r>
            <a:r>
              <a:rPr lang="zh-CN" altLang="en-US" sz="1400" b="1" dirty="0">
                <a:solidFill>
                  <a:srgbClr val="C00000"/>
                </a:solidFill>
              </a:rPr>
              <a:t>类新药</a:t>
            </a:r>
            <a:endParaRPr lang="en-US" altLang="zh-CN" sz="1400" b="1" dirty="0">
              <a:solidFill>
                <a:srgbClr val="C00000"/>
              </a:solidFill>
            </a:endParaRPr>
          </a:p>
          <a:p>
            <a:pPr marL="171399" indent="-171399" defTabSz="914126">
              <a:spcAft>
                <a:spcPts val="600"/>
              </a:spcAft>
              <a:defRPr/>
            </a:pPr>
            <a:r>
              <a:rPr lang="zh-CN" altLang="en-US" sz="1400" b="1" dirty="0">
                <a:solidFill>
                  <a:srgbClr val="000000"/>
                </a:solidFill>
              </a:rPr>
              <a:t>靶向阻断</a:t>
            </a:r>
            <a:r>
              <a:rPr lang="en-US" altLang="zh-CN" sz="1400" b="1" dirty="0">
                <a:solidFill>
                  <a:srgbClr val="000000"/>
                </a:solidFill>
              </a:rPr>
              <a:t>TFPI</a:t>
            </a:r>
            <a:r>
              <a:rPr lang="zh-CN" altLang="en-US" sz="1400" b="1" dirty="0">
                <a:solidFill>
                  <a:srgbClr val="000000"/>
                </a:solidFill>
              </a:rPr>
              <a:t>对于凝血的抑制作用</a:t>
            </a:r>
            <a:r>
              <a:rPr lang="zh-CN" altLang="en-US" sz="1400" dirty="0">
                <a:solidFill>
                  <a:srgbClr val="000000"/>
                </a:solidFill>
              </a:rPr>
              <a:t>，实现凝血再平衡，</a:t>
            </a:r>
            <a:r>
              <a:rPr lang="zh-CN" altLang="en-US" sz="1400" b="1" dirty="0">
                <a:solidFill>
                  <a:srgbClr val="000000"/>
                </a:solidFill>
              </a:rPr>
              <a:t>突破创新机制</a:t>
            </a:r>
            <a:r>
              <a:rPr lang="zh-CN" altLang="en-US" sz="1400" dirty="0">
                <a:solidFill>
                  <a:srgbClr val="000000"/>
                </a:solidFill>
              </a:rPr>
              <a:t>，</a:t>
            </a:r>
            <a:r>
              <a:rPr lang="zh-CN" altLang="en-US" sz="1400" b="1" dirty="0">
                <a:solidFill>
                  <a:srgbClr val="000000"/>
                </a:solidFill>
              </a:rPr>
              <a:t>兼顾强效</a:t>
            </a:r>
            <a:r>
              <a:rPr lang="zh-CN" altLang="en-US" sz="1400" dirty="0">
                <a:solidFill>
                  <a:srgbClr val="000000"/>
                </a:solidFill>
              </a:rPr>
              <a:t>（年均出血降低</a:t>
            </a:r>
            <a:r>
              <a:rPr lang="en-US" altLang="zh-CN" sz="1400" dirty="0">
                <a:solidFill>
                  <a:srgbClr val="000000"/>
                </a:solidFill>
              </a:rPr>
              <a:t>92%</a:t>
            </a:r>
            <a:r>
              <a:rPr lang="en-US" altLang="zh-CN" sz="1400" baseline="30000" dirty="0">
                <a:solidFill>
                  <a:srgbClr val="000000"/>
                </a:solidFill>
              </a:rPr>
              <a:t>3</a:t>
            </a:r>
            <a:r>
              <a:rPr lang="zh-CN" altLang="en-US" sz="1400" dirty="0">
                <a:solidFill>
                  <a:srgbClr val="000000"/>
                </a:solidFill>
              </a:rPr>
              <a:t>）、更</a:t>
            </a:r>
            <a:r>
              <a:rPr lang="zh-CN" altLang="en-US" sz="1400" b="1" dirty="0">
                <a:solidFill>
                  <a:srgbClr val="000000"/>
                </a:solidFill>
              </a:rPr>
              <a:t>安全</a:t>
            </a:r>
            <a:r>
              <a:rPr lang="zh-CN" altLang="en-US" sz="1400" dirty="0">
                <a:solidFill>
                  <a:srgbClr val="000000"/>
                </a:solidFill>
              </a:rPr>
              <a:t>（关键三期研究未发生血栓事件</a:t>
            </a:r>
            <a:r>
              <a:rPr lang="en-US" altLang="zh-CN" sz="1400" baseline="30000" dirty="0">
                <a:solidFill>
                  <a:srgbClr val="000000"/>
                </a:solidFill>
              </a:rPr>
              <a:t>3</a:t>
            </a:r>
            <a:r>
              <a:rPr lang="zh-CN" altLang="en-US" sz="1400" dirty="0">
                <a:solidFill>
                  <a:srgbClr val="000000"/>
                </a:solidFill>
              </a:rPr>
              <a:t>）</a:t>
            </a:r>
            <a:r>
              <a:rPr lang="en-US" altLang="zh-CN" sz="1400" baseline="30000" dirty="0">
                <a:solidFill>
                  <a:srgbClr val="000000"/>
                </a:solidFill>
              </a:rPr>
              <a:t> </a:t>
            </a:r>
            <a:r>
              <a:rPr lang="zh-CN" altLang="en-US" sz="1400" dirty="0">
                <a:solidFill>
                  <a:srgbClr val="000000"/>
                </a:solidFill>
              </a:rPr>
              <a:t>与</a:t>
            </a:r>
            <a:r>
              <a:rPr lang="zh-CN" altLang="en-US" sz="1400" b="1" dirty="0">
                <a:solidFill>
                  <a:srgbClr val="000000"/>
                </a:solidFill>
              </a:rPr>
              <a:t>便利</a:t>
            </a:r>
            <a:r>
              <a:rPr lang="zh-CN" altLang="en-US" sz="1400" dirty="0">
                <a:solidFill>
                  <a:srgbClr val="000000"/>
                </a:solidFill>
              </a:rPr>
              <a:t>（皮下给药每周一次固定剂量</a:t>
            </a:r>
            <a:r>
              <a:rPr lang="en-US" altLang="zh-CN" sz="1400" baseline="30000" dirty="0">
                <a:solidFill>
                  <a:srgbClr val="000000"/>
                </a:solidFill>
              </a:rPr>
              <a:t>4</a:t>
            </a:r>
            <a:r>
              <a:rPr lang="zh-CN" altLang="en-US" sz="1400" dirty="0">
                <a:solidFill>
                  <a:srgbClr val="000000"/>
                </a:solidFill>
              </a:rPr>
              <a:t>）</a:t>
            </a:r>
            <a:endParaRPr lang="en-US" altLang="zh-CN" sz="1400" dirty="0">
              <a:solidFill>
                <a:srgbClr val="000000"/>
              </a:solidFill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A8C6A821-AAAF-4D66-456A-AEE0B640BA39}"/>
              </a:ext>
            </a:extLst>
          </p:cNvPr>
          <p:cNvSpPr/>
          <p:nvPr/>
        </p:nvSpPr>
        <p:spPr bwMode="gray">
          <a:xfrm>
            <a:off x="787765" y="3592563"/>
            <a:ext cx="467878" cy="467878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en-US" altLang="zh-CN" sz="1799" b="1" dirty="0">
                <a:solidFill>
                  <a:srgbClr val="FFFFFF"/>
                </a:solidFill>
                <a:latin typeface="Arial" panose="020B0604020202020204"/>
                <a:ea typeface="黑体" panose="02010609060101010101" pitchFamily="49" charset="-122"/>
              </a:rPr>
              <a:t>3</a:t>
            </a:r>
            <a:endParaRPr lang="zh-CN" altLang="en-US" sz="1799" b="1" dirty="0">
              <a:solidFill>
                <a:srgbClr val="FFFFFF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D85B031A-9DA6-5346-B40B-60C2BCFDB889}"/>
              </a:ext>
            </a:extLst>
          </p:cNvPr>
          <p:cNvSpPr/>
          <p:nvPr/>
        </p:nvSpPr>
        <p:spPr bwMode="gray">
          <a:xfrm>
            <a:off x="1407256" y="3430605"/>
            <a:ext cx="1835522" cy="791794"/>
          </a:xfrm>
          <a:prstGeom prst="roundRect">
            <a:avLst>
              <a:gd name="adj" fmla="val 9751"/>
            </a:avLst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799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34B927B-95FE-7625-42A7-1F8EB75160B5}"/>
              </a:ext>
            </a:extLst>
          </p:cNvPr>
          <p:cNvSpPr txBox="1"/>
          <p:nvPr/>
        </p:nvSpPr>
        <p:spPr bwMode="gray">
          <a:xfrm>
            <a:off x="3394387" y="3430605"/>
            <a:ext cx="8343780" cy="791794"/>
          </a:xfrm>
          <a:prstGeom prst="rect">
            <a:avLst/>
          </a:prstGeom>
        </p:spPr>
        <p:txBody>
          <a:bodyPr wrap="none" lIns="45708" tIns="45708" rIns="45708" bIns="45708" rtlCol="0" anchor="ctr">
            <a:no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171399" indent="-171399" defTabSz="914126">
              <a:spcAft>
                <a:spcPts val="600"/>
              </a:spcAft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强效止血，治疗后平均出血次数</a:t>
            </a:r>
            <a:r>
              <a:rPr lang="zh-CN" altLang="en-US" sz="1400" b="1" dirty="0">
                <a:solidFill>
                  <a:srgbClr val="C00000"/>
                </a:solidFill>
              </a:rPr>
              <a:t>降至</a:t>
            </a:r>
            <a:r>
              <a:rPr lang="en-US" altLang="zh-CN" sz="1400" b="1" dirty="0">
                <a:solidFill>
                  <a:srgbClr val="C00000"/>
                </a:solidFill>
              </a:rPr>
              <a:t>3.2</a:t>
            </a:r>
            <a:r>
              <a:rPr lang="zh-CN" altLang="en-US" sz="1400" b="1" dirty="0">
                <a:solidFill>
                  <a:srgbClr val="C00000"/>
                </a:solidFill>
              </a:rPr>
              <a:t>次</a:t>
            </a:r>
            <a:r>
              <a:rPr lang="en-US" altLang="zh-CN" sz="1400" b="1" dirty="0">
                <a:solidFill>
                  <a:srgbClr val="C00000"/>
                </a:solidFill>
              </a:rPr>
              <a:t>/</a:t>
            </a:r>
            <a:r>
              <a:rPr lang="zh-CN" altLang="en-US" sz="1400" b="1" dirty="0">
                <a:solidFill>
                  <a:srgbClr val="C00000"/>
                </a:solidFill>
              </a:rPr>
              <a:t>年</a:t>
            </a:r>
            <a:r>
              <a:rPr lang="en-US" altLang="zh-CN" sz="1400" baseline="30000" dirty="0">
                <a:solidFill>
                  <a:srgbClr val="000000"/>
                </a:solidFill>
              </a:rPr>
              <a:t>3</a:t>
            </a:r>
            <a:r>
              <a:rPr lang="zh-CN" altLang="en-US" sz="1400" dirty="0">
                <a:solidFill>
                  <a:srgbClr val="000000"/>
                </a:solidFill>
              </a:rPr>
              <a:t>，</a:t>
            </a:r>
            <a:r>
              <a:rPr lang="zh-CN" altLang="en-US" sz="1400" b="1" dirty="0">
                <a:solidFill>
                  <a:srgbClr val="000000"/>
                </a:solidFill>
              </a:rPr>
              <a:t>超半数</a:t>
            </a:r>
            <a:r>
              <a:rPr lang="zh-CN" altLang="en-US" sz="1400" dirty="0">
                <a:solidFill>
                  <a:srgbClr val="000000"/>
                </a:solidFill>
              </a:rPr>
              <a:t>患者实现</a:t>
            </a:r>
            <a:r>
              <a:rPr lang="zh-CN" altLang="en-US" sz="1400" b="1" dirty="0">
                <a:solidFill>
                  <a:srgbClr val="C00000"/>
                </a:solidFill>
              </a:rPr>
              <a:t>持续稳定零出血</a:t>
            </a:r>
            <a:r>
              <a:rPr lang="en-US" altLang="zh-CN" sz="1400" baseline="30000" dirty="0">
                <a:solidFill>
                  <a:srgbClr val="000000"/>
                </a:solidFill>
              </a:rPr>
              <a:t>5</a:t>
            </a:r>
            <a:r>
              <a:rPr lang="zh-CN" altLang="en-US" sz="1400" dirty="0"/>
              <a:t>，指南</a:t>
            </a:r>
            <a:r>
              <a:rPr lang="zh-CN" altLang="en-US" sz="1400" b="1" dirty="0"/>
              <a:t>强推荐</a:t>
            </a:r>
            <a:r>
              <a:rPr lang="en-US" altLang="zh-CN" sz="1400" baseline="30000" dirty="0">
                <a:solidFill>
                  <a:srgbClr val="000000"/>
                </a:solidFill>
              </a:rPr>
              <a:t>6</a:t>
            </a:r>
            <a:endParaRPr lang="en-US" altLang="zh-CN" sz="1400" b="1" dirty="0"/>
          </a:p>
          <a:p>
            <a:pPr marL="171399" indent="-171399" defTabSz="914126">
              <a:spcAft>
                <a:spcPts val="600"/>
              </a:spcAft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马塔西单抗强效保护关节、降低中位关节出血至</a:t>
            </a:r>
            <a:r>
              <a:rPr lang="en-US" altLang="zh-CN" sz="1400" b="1" dirty="0">
                <a:solidFill>
                  <a:srgbClr val="000000"/>
                </a:solidFill>
              </a:rPr>
              <a:t>1.5</a:t>
            </a:r>
            <a:r>
              <a:rPr lang="zh-CN" altLang="en-US" sz="1400" b="1" dirty="0">
                <a:solidFill>
                  <a:srgbClr val="000000"/>
                </a:solidFill>
              </a:rPr>
              <a:t>次</a:t>
            </a:r>
            <a:r>
              <a:rPr lang="en-US" altLang="zh-CN" sz="1400" b="1" dirty="0">
                <a:solidFill>
                  <a:srgbClr val="000000"/>
                </a:solidFill>
              </a:rPr>
              <a:t>/</a:t>
            </a:r>
            <a:r>
              <a:rPr lang="zh-CN" altLang="en-US" sz="1400" b="1" dirty="0">
                <a:solidFill>
                  <a:srgbClr val="000000"/>
                </a:solidFill>
              </a:rPr>
              <a:t>年</a:t>
            </a:r>
            <a:r>
              <a:rPr lang="en-US" altLang="zh-CN" sz="1400" baseline="30000" dirty="0">
                <a:solidFill>
                  <a:srgbClr val="000000"/>
                </a:solidFill>
              </a:rPr>
              <a:t>1</a:t>
            </a:r>
            <a:r>
              <a:rPr lang="zh-CN" altLang="en-US" sz="1400" dirty="0">
                <a:solidFill>
                  <a:srgbClr val="000000"/>
                </a:solidFill>
              </a:rPr>
              <a:t>，</a:t>
            </a:r>
            <a:r>
              <a:rPr lang="zh-CN" altLang="en-US" sz="1400" b="1" dirty="0">
                <a:solidFill>
                  <a:srgbClr val="C00000"/>
                </a:solidFill>
              </a:rPr>
              <a:t>降低</a:t>
            </a:r>
            <a:r>
              <a:rPr lang="en-US" altLang="zh-CN" sz="1400" b="1" dirty="0">
                <a:solidFill>
                  <a:srgbClr val="C00000"/>
                </a:solidFill>
              </a:rPr>
              <a:t>/</a:t>
            </a:r>
            <a:r>
              <a:rPr lang="zh-CN" altLang="en-US" sz="1400" b="1" dirty="0">
                <a:solidFill>
                  <a:srgbClr val="C00000"/>
                </a:solidFill>
              </a:rPr>
              <a:t>避免残疾风险</a:t>
            </a:r>
            <a:endParaRPr lang="en-US" altLang="zh-CN" sz="1400" b="1" dirty="0">
              <a:solidFill>
                <a:srgbClr val="C00000"/>
              </a:solidFill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A926D5DD-26B3-1AE5-4C55-9E6EDF53062C}"/>
              </a:ext>
            </a:extLst>
          </p:cNvPr>
          <p:cNvSpPr/>
          <p:nvPr/>
        </p:nvSpPr>
        <p:spPr bwMode="gray">
          <a:xfrm>
            <a:off x="787767" y="4569629"/>
            <a:ext cx="467878" cy="467878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en-US" altLang="zh-CN" sz="1799" b="1" dirty="0">
                <a:solidFill>
                  <a:srgbClr val="FFFFFF"/>
                </a:solidFill>
                <a:latin typeface="Arial" panose="020B0604020202020204"/>
                <a:ea typeface="黑体" panose="02010609060101010101" pitchFamily="49" charset="-122"/>
              </a:rPr>
              <a:t>4</a:t>
            </a:r>
            <a:endParaRPr lang="zh-CN" altLang="en-US" sz="1799" b="1" dirty="0">
              <a:solidFill>
                <a:srgbClr val="FFFFFF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D0AA2CF9-CEDF-2716-4BF3-C87FA7A2ACB3}"/>
              </a:ext>
            </a:extLst>
          </p:cNvPr>
          <p:cNvSpPr/>
          <p:nvPr/>
        </p:nvSpPr>
        <p:spPr bwMode="gray">
          <a:xfrm>
            <a:off x="1407258" y="4407671"/>
            <a:ext cx="1835522" cy="791794"/>
          </a:xfrm>
          <a:prstGeom prst="roundRect">
            <a:avLst>
              <a:gd name="adj" fmla="val 9751"/>
            </a:avLst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799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C58C4DBA-E7DC-7788-7D2C-F04B342C184C}"/>
              </a:ext>
            </a:extLst>
          </p:cNvPr>
          <p:cNvSpPr txBox="1"/>
          <p:nvPr/>
        </p:nvSpPr>
        <p:spPr bwMode="gray">
          <a:xfrm>
            <a:off x="3394389" y="4407671"/>
            <a:ext cx="8343781" cy="791794"/>
          </a:xfrm>
          <a:prstGeom prst="rect">
            <a:avLst/>
          </a:prstGeom>
        </p:spPr>
        <p:txBody>
          <a:bodyPr wrap="none" lIns="45708" tIns="45708" rIns="45708" bIns="45708" rtlCol="0" anchor="ctr">
            <a:no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171399" indent="-171399" defTabSz="914126">
              <a:spcAft>
                <a:spcPts val="600"/>
              </a:spcAft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关键三期研究</a:t>
            </a:r>
            <a:r>
              <a:rPr lang="zh-CN" altLang="en-US" sz="1400" b="1" dirty="0">
                <a:solidFill>
                  <a:srgbClr val="C00000"/>
                </a:solidFill>
              </a:rPr>
              <a:t>未发生血栓</a:t>
            </a:r>
            <a:r>
              <a:rPr lang="zh-CN" altLang="en-US" sz="1400" dirty="0">
                <a:solidFill>
                  <a:srgbClr val="000000"/>
                </a:solidFill>
              </a:rPr>
              <a:t>事件</a:t>
            </a:r>
            <a:r>
              <a:rPr lang="en-US" altLang="zh-CN" sz="1400" baseline="30000" dirty="0">
                <a:solidFill>
                  <a:srgbClr val="000000"/>
                </a:solidFill>
              </a:rPr>
              <a:t>4</a:t>
            </a:r>
            <a:r>
              <a:rPr lang="zh-CN" altLang="en-US" sz="1400" dirty="0">
                <a:solidFill>
                  <a:srgbClr val="000000"/>
                </a:solidFill>
              </a:rPr>
              <a:t>，是</a:t>
            </a:r>
            <a:r>
              <a:rPr lang="zh-CN" altLang="en-US" sz="1400" b="1" dirty="0">
                <a:solidFill>
                  <a:srgbClr val="000000"/>
                </a:solidFill>
              </a:rPr>
              <a:t>唯一无黑框</a:t>
            </a:r>
            <a:r>
              <a:rPr lang="zh-CN" altLang="en-US" sz="1400" dirty="0">
                <a:solidFill>
                  <a:srgbClr val="000000"/>
                </a:solidFill>
              </a:rPr>
              <a:t>警告的非因子药物</a:t>
            </a:r>
            <a:r>
              <a:rPr lang="en-US" altLang="zh-CN" sz="1400" baseline="30000" dirty="0">
                <a:solidFill>
                  <a:srgbClr val="000000"/>
                </a:solidFill>
              </a:rPr>
              <a:t>7-8</a:t>
            </a:r>
            <a:r>
              <a:rPr lang="zh-CN" altLang="en-US" sz="1400" dirty="0">
                <a:solidFill>
                  <a:srgbClr val="000000"/>
                </a:solidFill>
              </a:rPr>
              <a:t>，</a:t>
            </a:r>
            <a:r>
              <a:rPr lang="zh-CN" altLang="en-US" sz="1400" b="1" dirty="0">
                <a:solidFill>
                  <a:srgbClr val="000000"/>
                </a:solidFill>
              </a:rPr>
              <a:t>安全性更优</a:t>
            </a:r>
            <a:endParaRPr lang="en-US" altLang="zh-CN" sz="1400" b="1" dirty="0">
              <a:solidFill>
                <a:srgbClr val="C00000"/>
              </a:solidFill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64CF04A8-9D95-27E6-1976-D0ABDC63F8D5}"/>
              </a:ext>
            </a:extLst>
          </p:cNvPr>
          <p:cNvSpPr/>
          <p:nvPr/>
        </p:nvSpPr>
        <p:spPr bwMode="gray">
          <a:xfrm>
            <a:off x="787765" y="5546693"/>
            <a:ext cx="467878" cy="467878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en-US" altLang="zh-CN" sz="1799" b="1" dirty="0">
                <a:solidFill>
                  <a:srgbClr val="FFFFFF"/>
                </a:solidFill>
                <a:latin typeface="Arial" panose="020B0604020202020204"/>
                <a:ea typeface="黑体" panose="02010609060101010101" pitchFamily="49" charset="-122"/>
              </a:rPr>
              <a:t>5</a:t>
            </a:r>
            <a:endParaRPr lang="zh-CN" altLang="en-US" sz="1799" b="1" dirty="0">
              <a:solidFill>
                <a:srgbClr val="FFFFFF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3B332F6B-4D87-DE5C-51E4-5B5CFC85259F}"/>
              </a:ext>
            </a:extLst>
          </p:cNvPr>
          <p:cNvSpPr/>
          <p:nvPr/>
        </p:nvSpPr>
        <p:spPr bwMode="gray">
          <a:xfrm>
            <a:off x="1407256" y="5384735"/>
            <a:ext cx="1835522" cy="791794"/>
          </a:xfrm>
          <a:prstGeom prst="roundRect">
            <a:avLst>
              <a:gd name="adj" fmla="val 9751"/>
            </a:avLst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05" tIns="45703" rIns="91405" bIns="457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799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58622A1D-7BB2-F395-95DD-061B14436662}"/>
              </a:ext>
            </a:extLst>
          </p:cNvPr>
          <p:cNvSpPr txBox="1"/>
          <p:nvPr/>
        </p:nvSpPr>
        <p:spPr bwMode="gray">
          <a:xfrm>
            <a:off x="3394388" y="5384735"/>
            <a:ext cx="8343779" cy="791794"/>
          </a:xfrm>
          <a:prstGeom prst="rect">
            <a:avLst/>
          </a:prstGeom>
        </p:spPr>
        <p:txBody>
          <a:bodyPr wrap="none" lIns="45708" tIns="45708" rIns="45708" bIns="45708" rtlCol="0" anchor="ctr">
            <a:no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171399" indent="-171399" defTabSz="914126">
              <a:spcAft>
                <a:spcPts val="600"/>
              </a:spcAft>
              <a:defRPr/>
            </a:pPr>
            <a:r>
              <a:rPr lang="zh-CN" altLang="en-US" sz="1400" b="1" dirty="0">
                <a:solidFill>
                  <a:srgbClr val="C00000"/>
                </a:solidFill>
              </a:rPr>
              <a:t>皮下给药，每周一次</a:t>
            </a:r>
            <a:r>
              <a:rPr lang="en-US" altLang="zh-CN" sz="1400" baseline="30000" dirty="0">
                <a:solidFill>
                  <a:srgbClr val="000000"/>
                </a:solidFill>
              </a:rPr>
              <a:t>4</a:t>
            </a:r>
            <a:r>
              <a:rPr lang="zh-CN" altLang="en-US" sz="1400" dirty="0">
                <a:solidFill>
                  <a:srgbClr val="000000"/>
                </a:solidFill>
              </a:rPr>
              <a:t>，显著提升患者</a:t>
            </a:r>
            <a:r>
              <a:rPr lang="zh-CN" altLang="en-US" sz="1400" b="1" dirty="0">
                <a:solidFill>
                  <a:srgbClr val="000000"/>
                </a:solidFill>
              </a:rPr>
              <a:t>便利性</a:t>
            </a:r>
            <a:r>
              <a:rPr lang="zh-CN" altLang="en-US" sz="1400" dirty="0">
                <a:solidFill>
                  <a:srgbClr val="000000"/>
                </a:solidFill>
              </a:rPr>
              <a:t>，缓解因子治疗年均静脉输注</a:t>
            </a:r>
            <a:r>
              <a:rPr lang="en-US" altLang="zh-CN" sz="1400" dirty="0">
                <a:solidFill>
                  <a:srgbClr val="000000"/>
                </a:solidFill>
              </a:rPr>
              <a:t>50-100</a:t>
            </a:r>
            <a:r>
              <a:rPr lang="zh-CN" altLang="en-US" sz="1400" dirty="0">
                <a:solidFill>
                  <a:srgbClr val="000000"/>
                </a:solidFill>
              </a:rPr>
              <a:t>次的问题</a:t>
            </a:r>
            <a:endParaRPr lang="en-US" altLang="zh-CN" sz="1400" dirty="0">
              <a:solidFill>
                <a:srgbClr val="000000"/>
              </a:solidFill>
            </a:endParaRPr>
          </a:p>
          <a:p>
            <a:pPr marL="171399" indent="-171399" defTabSz="914126">
              <a:spcAft>
                <a:spcPts val="600"/>
              </a:spcAft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直接</a:t>
            </a:r>
            <a:r>
              <a:rPr lang="zh-CN" altLang="en-US" sz="1400" b="1" dirty="0">
                <a:solidFill>
                  <a:srgbClr val="000000"/>
                </a:solidFill>
              </a:rPr>
              <a:t>降低药品费用</a:t>
            </a:r>
            <a:r>
              <a:rPr lang="zh-CN" altLang="en-US" sz="1400" dirty="0">
                <a:solidFill>
                  <a:srgbClr val="000000"/>
                </a:solidFill>
              </a:rPr>
              <a:t>，替代因子用量大的患者治疗、</a:t>
            </a:r>
            <a:r>
              <a:rPr lang="zh-CN" altLang="en-US" sz="1400" b="1" dirty="0">
                <a:solidFill>
                  <a:srgbClr val="C00000"/>
                </a:solidFill>
              </a:rPr>
              <a:t>节约医保基金</a:t>
            </a:r>
            <a:endParaRPr lang="en-US" altLang="zh-CN" sz="1400" b="1" dirty="0">
              <a:solidFill>
                <a:srgbClr val="000000"/>
              </a:solidFill>
            </a:endParaRPr>
          </a:p>
          <a:p>
            <a:pPr marL="171399" indent="-171399" defTabSz="914126">
              <a:spcAft>
                <a:spcPts val="600"/>
              </a:spcAft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固定剂量</a:t>
            </a:r>
            <a:r>
              <a:rPr lang="en-US" altLang="zh-CN" sz="1400" dirty="0">
                <a:solidFill>
                  <a:srgbClr val="000000"/>
                </a:solidFill>
              </a:rPr>
              <a:t>/</a:t>
            </a:r>
            <a:r>
              <a:rPr lang="zh-CN" altLang="en-US" sz="1400" dirty="0">
                <a:solidFill>
                  <a:srgbClr val="000000"/>
                </a:solidFill>
              </a:rPr>
              <a:t>频率，</a:t>
            </a:r>
            <a:r>
              <a:rPr lang="zh-CN" altLang="en-US" sz="1400" b="1" dirty="0">
                <a:solidFill>
                  <a:srgbClr val="C00000"/>
                </a:solidFill>
              </a:rPr>
              <a:t>费用可控可预期</a:t>
            </a:r>
            <a:r>
              <a:rPr lang="zh-CN" altLang="en-US" sz="1400" dirty="0">
                <a:solidFill>
                  <a:srgbClr val="000000"/>
                </a:solidFill>
              </a:rPr>
              <a:t>，便于医保管理</a:t>
            </a:r>
            <a:endParaRPr lang="en-US" altLang="zh-CN" sz="1400" dirty="0">
              <a:solidFill>
                <a:srgbClr val="000000"/>
              </a:solidFill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73B48DB3-BCFD-F075-C9FE-64EE18D30D83}"/>
              </a:ext>
            </a:extLst>
          </p:cNvPr>
          <p:cNvSpPr txBox="1"/>
          <p:nvPr/>
        </p:nvSpPr>
        <p:spPr bwMode="gray">
          <a:xfrm>
            <a:off x="2160000" y="6336000"/>
            <a:ext cx="566955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8900" indent="-88900">
              <a:buFont typeface="+mj-lt"/>
              <a:buAutoNum type="arabicPeriod"/>
            </a:pP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Zhang L, Zhang P, Chen W. Overview of Patients with Hemophilia in China: Demographics, Diseases, Treatment, and Health Status. Patient Prefer Adherence. 2024 Jan 13;18:101-109</a:t>
            </a:r>
          </a:p>
          <a:p>
            <a:pPr marL="88900" indent="-88900">
              <a:buFont typeface="+mj-lt"/>
              <a:buAutoNum type="arabicPeriod"/>
            </a:pPr>
            <a:r>
              <a:rPr lang="zh-CN" altLang="en-US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贺小宁等，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《</a:t>
            </a:r>
            <a:r>
              <a:rPr lang="zh-CN" altLang="en-US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中国血友病患者多维度疾病负担的真实世界研究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》</a:t>
            </a:r>
            <a:r>
              <a:rPr lang="zh-CN" altLang="en-US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，中国医院协会</a:t>
            </a:r>
            <a:endParaRPr lang="en-US" altLang="zh-CN" sz="500" kern="1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marL="88900" indent="-88900">
              <a:buFont typeface="+mj-lt"/>
              <a:buAutoNum type="arabicPeriod"/>
            </a:pP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Matino D, et al., Marstacimab prophylaxis in hemophilia A/B without inhibitors: results from the phase 3 BASIS trial. Blood. 2025 Oct 2;146(14):1654-1663.</a:t>
            </a:r>
          </a:p>
          <a:p>
            <a:pPr marL="88900" indent="-88900">
              <a:buFont typeface="+mj-lt"/>
              <a:buAutoNum type="arabicPeriod"/>
            </a:pPr>
            <a:r>
              <a:rPr lang="zh-CN" altLang="en-US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马塔西单抗注射液说明书</a:t>
            </a:r>
            <a:endParaRPr lang="en-US" altLang="zh-CN" sz="500" kern="1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marL="88900" indent="-88900">
              <a:buFont typeface="+mj-lt"/>
              <a:buAutoNum type="arabicPeriod"/>
            </a:pP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Matino D, et al., Long-term efficacy of Marstacimab in Adults and Adolescents with Severe Hemophilia A or B without inhibitors who completed the BASIS trial, 33rd Congress of the International Society on Thrombosis and </a:t>
            </a:r>
            <a:r>
              <a:rPr lang="en-US" altLang="zh-CN" sz="500" kern="100" dirty="0" err="1">
                <a:latin typeface="Arial" panose="020B0604020202020204" pitchFamily="34" charset="0"/>
                <a:ea typeface="微软雅黑" panose="020B0503020204020204" pitchFamily="34" charset="-122"/>
              </a:rPr>
              <a:t>Haemostasis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 (ISTH), June 21-25 2025, Washington DC, USA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77B3611D-6ABF-1EA4-080D-47350C213B37}"/>
              </a:ext>
            </a:extLst>
          </p:cNvPr>
          <p:cNvSpPr txBox="1"/>
          <p:nvPr/>
        </p:nvSpPr>
        <p:spPr bwMode="gray">
          <a:xfrm>
            <a:off x="7829550" y="6336000"/>
            <a:ext cx="417195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88900" indent="-88900">
              <a:buFont typeface="+mj-lt"/>
              <a:buAutoNum type="arabicPeriod"/>
              <a:defRPr sz="500" kern="100"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>
              <a:buFont typeface="+mj-lt"/>
              <a:buAutoNum type="arabicPeriod" startAt="6"/>
            </a:pPr>
            <a:r>
              <a:rPr lang="en-US" altLang="zh-CN" dirty="0"/>
              <a:t>BASIS trial, 33rd Congress of the International Society on Thrombosis and </a:t>
            </a:r>
            <a:r>
              <a:rPr lang="en-US" altLang="zh-CN" dirty="0" err="1"/>
              <a:t>Haemostasis</a:t>
            </a:r>
            <a:r>
              <a:rPr lang="en-US" altLang="zh-CN" dirty="0"/>
              <a:t> (ISTH), June 21-25 2025, Washington DC, USA</a:t>
            </a:r>
          </a:p>
          <a:p>
            <a:pPr>
              <a:buFont typeface="+mj-lt"/>
              <a:buAutoNum type="arabicPeriod" startAt="6"/>
            </a:pPr>
            <a:r>
              <a:rPr lang="zh-CN" altLang="en-US" dirty="0"/>
              <a:t>芬妥司兰钠注射液说明书</a:t>
            </a:r>
            <a:endParaRPr lang="en-US" altLang="zh-CN" dirty="0"/>
          </a:p>
          <a:p>
            <a:pPr>
              <a:buFont typeface="+mj-lt"/>
              <a:buAutoNum type="arabicPeriod" startAt="6"/>
            </a:pPr>
            <a:r>
              <a:rPr lang="zh-CN" altLang="en-US" dirty="0"/>
              <a:t>艾美赛珠单抗注射液说明书</a:t>
            </a:r>
          </a:p>
        </p:txBody>
      </p:sp>
    </p:spTree>
    <p:extLst>
      <p:ext uri="{BB962C8B-B14F-4D97-AF65-F5344CB8AC3E}">
        <p14:creationId xmlns:p14="http://schemas.microsoft.com/office/powerpoint/2010/main" val="3034629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2A3F27-D433-F300-57BC-BF06E69BF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FD9BE15-CEBD-A8F3-4CAB-F522C05F564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395711"/>
              </p:ext>
            </p:ext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FD9BE15-CEBD-A8F3-4CAB-F522C05F56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" name="矩形 480">
            <a:extLst>
              <a:ext uri="{FF2B5EF4-FFF2-40B4-BE49-F238E27FC236}">
                <a16:creationId xmlns:a16="http://schemas.microsoft.com/office/drawing/2014/main" id="{B6A3AE0D-2A11-7A7A-D87F-6CDE1E996B56}"/>
              </a:ext>
            </a:extLst>
          </p:cNvPr>
          <p:cNvSpPr/>
          <p:nvPr/>
        </p:nvSpPr>
        <p:spPr bwMode="gray">
          <a:xfrm>
            <a:off x="9524710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马塔西单抗注射液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C6F1B2D2-0710-72CC-0699-CDE0E69E4B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415002" cy="740918"/>
          </a:xfrm>
        </p:spPr>
        <p:txBody>
          <a:bodyPr vert="horz" rIns="0"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马塔西单抗是全新机制的</a:t>
            </a:r>
            <a:r>
              <a:rPr lang="en-US" altLang="zh-CN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新药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用于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型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血友病</a:t>
            </a:r>
            <a:r>
              <a:rPr lang="en-US" altLang="zh-CN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/B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，填补目录内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因子药物的空白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带来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破性疗效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建议参照药为空白，建议评级为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破</a:t>
            </a:r>
            <a:endParaRPr lang="en-US" altLang="zh-CN" sz="22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7" name="表格 36">
            <a:extLst>
              <a:ext uri="{FF2B5EF4-FFF2-40B4-BE49-F238E27FC236}">
                <a16:creationId xmlns:a16="http://schemas.microsoft.com/office/drawing/2014/main" id="{06BA8368-A326-0EBF-CCDD-6B8A77B2E3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500711"/>
              </p:ext>
            </p:extLst>
          </p:nvPr>
        </p:nvGraphicFramePr>
        <p:xfrm>
          <a:off x="477162" y="3002152"/>
          <a:ext cx="11160656" cy="32509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6488">
                  <a:extLst>
                    <a:ext uri="{9D8B030D-6E8A-4147-A177-3AD203B41FA5}">
                      <a16:colId xmlns:a16="http://schemas.microsoft.com/office/drawing/2014/main" val="458396133"/>
                    </a:ext>
                  </a:extLst>
                </a:gridCol>
                <a:gridCol w="3835400">
                  <a:extLst>
                    <a:ext uri="{9D8B030D-6E8A-4147-A177-3AD203B41FA5}">
                      <a16:colId xmlns:a16="http://schemas.microsoft.com/office/drawing/2014/main" val="417357678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795215898"/>
                    </a:ext>
                  </a:extLst>
                </a:gridCol>
                <a:gridCol w="3744768">
                  <a:extLst>
                    <a:ext uri="{9D8B030D-6E8A-4147-A177-3AD203B41FA5}">
                      <a16:colId xmlns:a16="http://schemas.microsoft.com/office/drawing/2014/main" val="1000775882"/>
                    </a:ext>
                  </a:extLst>
                </a:gridCol>
              </a:tblGrid>
              <a:tr h="192704"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申报目录类型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本医保目录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013048"/>
                  </a:ext>
                </a:extLst>
              </a:tr>
              <a:tr h="192704"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用名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马塔西单抗注射液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格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0mg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mL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支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078378"/>
                  </a:ext>
                </a:extLst>
              </a:tr>
              <a:tr h="340066"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注册分类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用生物制品</a:t>
                      </a:r>
                      <a:r>
                        <a:rPr lang="en-US" altLang="zh-CN" sz="16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6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</a:t>
                      </a:r>
                      <a:endParaRPr lang="zh-CN" altLang="en-US" sz="11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090283"/>
                  </a:ext>
                </a:extLst>
              </a:tr>
              <a:tr h="442086"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适应症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本品适用于患有以下疾病且体重</a:t>
                      </a:r>
                      <a:r>
                        <a:rPr kumimoji="0" lang="zh-CN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≥</a:t>
                      </a:r>
                      <a:r>
                        <a:rPr kumimoji="0" lang="en-US" altLang="zh-CN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5kg</a:t>
                      </a: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的</a:t>
                      </a:r>
                      <a:r>
                        <a:rPr kumimoji="0" lang="en-US" altLang="zh-CN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</a:t>
                      </a:r>
                      <a:r>
                        <a:rPr kumimoji="0" lang="zh-CN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岁以上儿童和成人患者的常规预防治疗</a:t>
                      </a: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以防止出血或降低出血发作的频率：</a:t>
                      </a:r>
                      <a:endParaRPr kumimoji="0" lang="en-US" altLang="zh-CN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zh-CN" altLang="en-US" sz="11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不存在凝血因子</a:t>
                      </a:r>
                      <a:r>
                        <a:rPr kumimoji="0" lang="en-US" altLang="zh-CN" sz="11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VIII</a:t>
                      </a:r>
                      <a:r>
                        <a:rPr kumimoji="0" lang="zh-CN" altLang="en-US" sz="11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抑制物的</a:t>
                      </a:r>
                      <a:r>
                        <a:rPr kumimoji="0" lang="zh-CN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重型</a:t>
                      </a:r>
                      <a:r>
                        <a:rPr kumimoji="0" lang="en-US" altLang="zh-CN" sz="11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</a:t>
                      </a:r>
                      <a:r>
                        <a:rPr kumimoji="0" lang="zh-CN" altLang="en-US" sz="11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型血友病（先天性凝血因子</a:t>
                      </a:r>
                      <a:r>
                        <a:rPr kumimoji="0" lang="en-US" altLang="zh-CN" sz="11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VIII</a:t>
                      </a:r>
                      <a:r>
                        <a:rPr kumimoji="0" lang="zh-CN" altLang="en-US" sz="11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缺乏，</a:t>
                      </a:r>
                      <a:r>
                        <a:rPr kumimoji="0" lang="en-US" altLang="zh-CN" sz="11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FVIII&lt;1%</a:t>
                      </a:r>
                      <a:r>
                        <a:rPr kumimoji="0" lang="zh-CN" altLang="en-US" sz="11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  <a:endParaRPr kumimoji="0" lang="en-US" altLang="zh-CN" sz="110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存在凝血因子</a:t>
                      </a:r>
                      <a:r>
                        <a:rPr lang="en-US" altLang="zh-CN" sz="1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X</a:t>
                      </a:r>
                      <a:r>
                        <a:rPr lang="zh-CN" altLang="en-US" sz="1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抑制物的</a:t>
                      </a:r>
                      <a:r>
                        <a:rPr lang="zh-CN" altLang="en-US" sz="1100" b="1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型</a:t>
                      </a:r>
                      <a:r>
                        <a:rPr lang="en-US" altLang="zh-CN" sz="1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1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型血友病（先天性凝血因子</a:t>
                      </a:r>
                      <a:r>
                        <a:rPr lang="en-US" altLang="zh-CN" sz="1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X</a:t>
                      </a:r>
                      <a:r>
                        <a:rPr lang="zh-CN" altLang="en-US" sz="1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缺乏，</a:t>
                      </a:r>
                      <a:r>
                        <a:rPr lang="en-US" altLang="zh-CN" sz="1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IX&lt;1%</a:t>
                      </a:r>
                      <a:r>
                        <a:rPr lang="zh-CN" altLang="en-US" sz="11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kumimoji="0" lang="en-US" altLang="zh-CN" sz="110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246358"/>
                  </a:ext>
                </a:extLst>
              </a:tr>
              <a:tr h="566777"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法用量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【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荷剂量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】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皮下注射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0mg</a:t>
                      </a:r>
                    </a:p>
                    <a:p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【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维持剂量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】</a:t>
                      </a: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负荷剂量给药后</a:t>
                      </a:r>
                      <a:r>
                        <a:rPr kumimoji="0" lang="en-US" altLang="zh-C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周，开始维持剂量给药，</a:t>
                      </a:r>
                      <a:r>
                        <a:rPr kumimoji="0" lang="zh-CN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每周一次</a:t>
                      </a:r>
                      <a:r>
                        <a:rPr kumimoji="0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即每周在同一天的任意时间皮下注射</a:t>
                      </a:r>
                      <a:r>
                        <a:rPr kumimoji="0" lang="en-US" altLang="zh-CN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0m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【剂量调整】经专业医护人员判定当前剂量不足以控制出血事件时，可考虑将体重≥</a:t>
                      </a:r>
                      <a:r>
                        <a:rPr lang="en-US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0kg</a:t>
                      </a:r>
                      <a:r>
                        <a:rPr lang="zh-CN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的患者的剂量调整为每周皮下注射</a:t>
                      </a:r>
                      <a:r>
                        <a:rPr lang="en-US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00mg</a:t>
                      </a:r>
                      <a:r>
                        <a:rPr lang="zh-CN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关键</a:t>
                      </a:r>
                      <a:r>
                        <a:rPr lang="en-US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III</a:t>
                      </a:r>
                      <a:r>
                        <a:rPr lang="zh-CN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期研究中有</a:t>
                      </a:r>
                      <a:r>
                        <a:rPr lang="en-US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%</a:t>
                      </a:r>
                      <a:r>
                        <a:rPr lang="zh-CN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患者在</a:t>
                      </a:r>
                      <a:r>
                        <a:rPr lang="en-US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</a:t>
                      </a:r>
                      <a:r>
                        <a:rPr lang="zh-CN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个月后需要调整至</a:t>
                      </a:r>
                      <a:r>
                        <a:rPr lang="en-US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00mg</a:t>
                      </a:r>
                      <a:r>
                        <a:rPr lang="zh-CN" altLang="zh-CN" sz="11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9050714"/>
                  </a:ext>
                </a:extLst>
              </a:tr>
              <a:tr h="192704"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获批时间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1892228"/>
                  </a:ext>
                </a:extLst>
              </a:tr>
              <a:tr h="192704"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球首次上市时间和地区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4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，美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1083956"/>
                  </a:ext>
                </a:extLst>
              </a:tr>
              <a:tr h="192704"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通用名药品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是否为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TC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否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668865"/>
                  </a:ext>
                </a:extLst>
              </a:tr>
              <a:tr h="192704"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核心专利类型及有效期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化合物专利，到期日为</a:t>
                      </a:r>
                      <a:r>
                        <a:rPr lang="en-US" altLang="zh-CN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36</a:t>
                      </a:r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72897"/>
                  </a:ext>
                </a:extLst>
              </a:tr>
            </a:tbl>
          </a:graphicData>
        </a:graphic>
      </p:graphicFrame>
      <p:sp>
        <p:nvSpPr>
          <p:cNvPr id="42" name="矩形 41">
            <a:extLst>
              <a:ext uri="{FF2B5EF4-FFF2-40B4-BE49-F238E27FC236}">
                <a16:creationId xmlns:a16="http://schemas.microsoft.com/office/drawing/2014/main" id="{38BFC990-E703-12D2-CD28-7023F1FFBA9D}"/>
              </a:ext>
            </a:extLst>
          </p:cNvPr>
          <p:cNvSpPr/>
          <p:nvPr/>
        </p:nvSpPr>
        <p:spPr bwMode="gray">
          <a:xfrm>
            <a:off x="446798" y="1534193"/>
            <a:ext cx="11264864" cy="1271692"/>
          </a:xfrm>
          <a:prstGeom prst="rect">
            <a:avLst/>
          </a:prstGeom>
          <a:solidFill>
            <a:srgbClr val="E1F5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130000"/>
              </a:lnSpc>
              <a:spcAft>
                <a:spcPts val="60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议参照药为：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白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理由如下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fontAlgn="base">
              <a:lnSpc>
                <a:spcPct val="130000"/>
              </a:lnSpc>
              <a:spcAft>
                <a:spcPts val="600"/>
              </a:spcAft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弥补空白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保目录内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非因子治疗药物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马塔西是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凝血再平衡机制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填补目录内非因子治疗药物的空白</a:t>
            </a:r>
            <a:endParaRPr lang="en-US" altLang="zh-CN" sz="13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fontAlgn="base">
              <a:lnSpc>
                <a:spcPct val="130000"/>
              </a:lnSpc>
              <a:spcAft>
                <a:spcPts val="600"/>
              </a:spcAft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疗效突破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相对现有因子类药物，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疗效显著提升，年均出血次数降低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2%</a:t>
            </a:r>
            <a:endParaRPr lang="en-US" altLang="zh-CN" sz="1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1DA59343-34B7-665F-BE52-73A4328AF202}"/>
              </a:ext>
            </a:extLst>
          </p:cNvPr>
          <p:cNvSpPr/>
          <p:nvPr/>
        </p:nvSpPr>
        <p:spPr bwMode="gray">
          <a:xfrm>
            <a:off x="347738" y="0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品基本信息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549881B8-1329-32D1-E8E4-EB27D1D03FE3}"/>
              </a:ext>
            </a:extLst>
          </p:cNvPr>
          <p:cNvSpPr/>
          <p:nvPr/>
        </p:nvSpPr>
        <p:spPr bwMode="gray">
          <a:xfrm>
            <a:off x="446793" y="2932838"/>
            <a:ext cx="11264869" cy="3312001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rgbClr val="000000"/>
              </a:buClr>
              <a:buSzPct val="90000"/>
              <a:tabLst/>
              <a:defRPr/>
            </a:pP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56922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61BA1B-C2CC-42BB-FF94-EC5A9EB253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93754FD7-9FA3-7051-8328-B61A365F5E5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93754FD7-9FA3-7051-8328-B61A365F5E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" name="矩形 480">
            <a:extLst>
              <a:ext uri="{FF2B5EF4-FFF2-40B4-BE49-F238E27FC236}">
                <a16:creationId xmlns:a16="http://schemas.microsoft.com/office/drawing/2014/main" id="{242D1D96-05BB-4644-D0DA-C11F56FD6ABE}"/>
              </a:ext>
            </a:extLst>
          </p:cNvPr>
          <p:cNvSpPr/>
          <p:nvPr/>
        </p:nvSpPr>
        <p:spPr bwMode="gray">
          <a:xfrm>
            <a:off x="9524710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马塔西单抗注射液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1978FEC8-0903-8E9F-3ED8-7DACFB4C0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373900" cy="1216112"/>
          </a:xfrm>
        </p:spPr>
        <p:txBody>
          <a:bodyPr vert="horz" rIns="0"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满足需求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成人血友病患者仍以出血后治疗为主，导致频繁出血，年化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出血率高达</a:t>
            </a:r>
            <a:r>
              <a:rPr lang="en-US" altLang="zh-CN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2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岁以上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残疾率高达</a:t>
            </a:r>
            <a:r>
              <a:rPr lang="en-US" altLang="zh-CN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%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济负担重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医保管理难度高，需更有效、更经济的治疗药物</a:t>
            </a:r>
            <a:endParaRPr lang="en-US" altLang="zh-CN" sz="2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B289CBB5-BB5D-9254-5C01-C4C251707BA5}"/>
              </a:ext>
            </a:extLst>
          </p:cNvPr>
          <p:cNvSpPr txBox="1"/>
          <p:nvPr/>
        </p:nvSpPr>
        <p:spPr bwMode="gray">
          <a:xfrm>
            <a:off x="2160000" y="6336000"/>
            <a:ext cx="85137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8900" lvl="0" indent="-88900" algn="l">
              <a:buFont typeface="+mj-lt"/>
              <a:buAutoNum type="arabicPeriod"/>
            </a:pPr>
            <a:r>
              <a:rPr lang="en-US" altLang="zh-CN" sz="5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Zhang L, Zhang P, Chen W. Overview of Patients with Hemophilia in China: Demographics, Diseases, Treatment, and Health Status. Patient Prefer Adherence. 2024 Jan 13;18:101-109</a:t>
            </a:r>
          </a:p>
          <a:p>
            <a:pPr marL="88900" lvl="0" indent="-88900" algn="l">
              <a:buFont typeface="+mj-lt"/>
              <a:buAutoNum type="arabicPeriod"/>
            </a:pPr>
            <a:r>
              <a:rPr lang="zh-CN" altLang="en-US" sz="500" kern="100" dirty="0">
                <a:solidFill>
                  <a:srgbClr val="11202B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贺小宁等，</a:t>
            </a:r>
            <a:r>
              <a:rPr lang="en-US" altLang="zh-CN" sz="500" kern="100" dirty="0">
                <a:solidFill>
                  <a:srgbClr val="11202B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《</a:t>
            </a:r>
            <a:r>
              <a:rPr lang="zh-CN" altLang="en-US" sz="500" kern="100" dirty="0">
                <a:solidFill>
                  <a:srgbClr val="11202B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中国血友病患者多维度疾病负担的真实世界研究</a:t>
            </a:r>
            <a:r>
              <a:rPr lang="en-US" altLang="zh-CN" sz="500" kern="100" dirty="0">
                <a:solidFill>
                  <a:srgbClr val="11202B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》</a:t>
            </a:r>
            <a:r>
              <a:rPr lang="zh-CN" altLang="en-US" sz="500" kern="100" dirty="0">
                <a:solidFill>
                  <a:srgbClr val="11202B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，中国医院协会，</a:t>
            </a:r>
            <a:endParaRPr lang="en-US" altLang="zh-CN" sz="500" kern="100" dirty="0">
              <a:solidFill>
                <a:srgbClr val="11202B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marL="88900" lvl="0" indent="-88900" algn="l">
              <a:buFont typeface="+mj-lt"/>
              <a:buAutoNum type="arabicPeriod"/>
            </a:pP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《</a:t>
            </a:r>
            <a:r>
              <a:rPr lang="zh-CN" altLang="en-US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血友病治疗中国指南（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2020</a:t>
            </a:r>
            <a:r>
              <a:rPr lang="zh-CN" altLang="en-US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年版）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》</a:t>
            </a:r>
            <a:r>
              <a:rPr lang="zh-CN" altLang="en-US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，中国医学会血液学分会血栓与止血学组，中华血液杂志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2020</a:t>
            </a:r>
            <a:r>
              <a:rPr lang="zh-CN" altLang="en-US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年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4</a:t>
            </a:r>
            <a:r>
              <a:rPr lang="zh-CN" altLang="en-US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月第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41</a:t>
            </a:r>
            <a:r>
              <a:rPr lang="zh-CN" altLang="en-US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卷第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4</a:t>
            </a:r>
            <a:r>
              <a:rPr lang="zh-CN" altLang="en-US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期</a:t>
            </a:r>
            <a:endParaRPr lang="en-US" altLang="zh-CN" sz="500" kern="1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marL="88900" lvl="0" indent="-88900" algn="l">
              <a:buFont typeface="+mj-lt"/>
              <a:buAutoNum type="arabicPeriod"/>
            </a:pPr>
            <a:r>
              <a:rPr lang="en-US" altLang="zh-CN" sz="500" kern="100" dirty="0" err="1">
                <a:latin typeface="Arial" panose="020B0604020202020204" pitchFamily="34" charset="0"/>
                <a:ea typeface="微软雅黑" panose="020B0503020204020204" pitchFamily="34" charset="-122"/>
              </a:rPr>
              <a:t>Xuefei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 B, et al., Impact of Inhibitors </a:t>
            </a:r>
            <a:r>
              <a:rPr lang="en-US" altLang="zh-CN" sz="500" kern="100" dirty="0" err="1">
                <a:latin typeface="Arial" panose="020B0604020202020204" pitchFamily="34" charset="0"/>
                <a:ea typeface="微软雅黑" panose="020B0503020204020204" pitchFamily="34" charset="-122"/>
              </a:rPr>
              <a:t>possitivity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 on treatment patterns and disease burden in Chiense patients with hemophilia A: A cross-functional real-world study, The 67</a:t>
            </a:r>
            <a:r>
              <a:rPr lang="en-US" altLang="zh-CN" sz="500" kern="100" baseline="30000" dirty="0">
                <a:latin typeface="Arial" panose="020B0604020202020204" pitchFamily="34" charset="0"/>
                <a:ea typeface="微软雅黑" panose="020B0503020204020204" pitchFamily="34" charset="-122"/>
              </a:rPr>
              <a:t>th</a:t>
            </a:r>
            <a:r>
              <a:rPr lang="en-US" altLang="zh-CN" sz="500" kern="100" dirty="0">
                <a:latin typeface="Arial" panose="020B0604020202020204" pitchFamily="34" charset="0"/>
                <a:ea typeface="微软雅黑" panose="020B0503020204020204" pitchFamily="34" charset="-122"/>
              </a:rPr>
              <a:t> ASH Annual Meeting Abstracts</a:t>
            </a: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2B758F92-8A8C-5969-F5B9-F1BEE4631B19}"/>
              </a:ext>
            </a:extLst>
          </p:cNvPr>
          <p:cNvSpPr/>
          <p:nvPr/>
        </p:nvSpPr>
        <p:spPr bwMode="gray">
          <a:xfrm>
            <a:off x="496675" y="1629513"/>
            <a:ext cx="11152816" cy="537017"/>
          </a:xfrm>
          <a:prstGeom prst="rect">
            <a:avLst/>
          </a:prstGeom>
          <a:noFill/>
          <a:ln w="12700" cap="flat" cmpd="sng" algn="ctr">
            <a:noFill/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真实世界研究显示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2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中国血友病成人患者</a:t>
            </a: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接受因子按需治疗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因治疗不足，导致未满足需求显著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34DF2511-1505-71F8-99FD-0C7E597DDE71}"/>
              </a:ext>
            </a:extLst>
          </p:cNvPr>
          <p:cNvSpPr/>
          <p:nvPr/>
        </p:nvSpPr>
        <p:spPr bwMode="gray">
          <a:xfrm>
            <a:off x="6251889" y="2903153"/>
            <a:ext cx="2520000" cy="1108463"/>
          </a:xfrm>
          <a:prstGeom prst="roundRect">
            <a:avLst>
              <a:gd name="adj" fmla="val 6127"/>
            </a:avLst>
          </a:prstGeom>
          <a:solidFill>
            <a:srgbClr val="EBF7FF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脉输注</a:t>
            </a:r>
            <a:endParaRPr lang="en-US" altLang="zh-CN" sz="22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-100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en-US" altLang="zh-CN" sz="2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zh-CN" altLang="en-US" sz="22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33C912AF-5621-688C-44F1-D058C26542D1}"/>
              </a:ext>
            </a:extLst>
          </p:cNvPr>
          <p:cNvSpPr/>
          <p:nvPr/>
        </p:nvSpPr>
        <p:spPr bwMode="gray">
          <a:xfrm>
            <a:off x="6251883" y="4082568"/>
            <a:ext cx="2520005" cy="1441326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2563" indent="-182563" fontAlgn="base">
              <a:lnSpc>
                <a:spcPct val="120000"/>
              </a:lnSpc>
              <a:spcAft>
                <a:spcPts val="3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指南推荐，每次出血后静脉注射因子类药物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-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</a:p>
          <a:p>
            <a:pPr marL="182563" indent="-182563" fontAlgn="base">
              <a:lnSpc>
                <a:spcPct val="120000"/>
              </a:lnSpc>
              <a:spcAft>
                <a:spcPts val="3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人患者年均静脉输注因子次数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-100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按照平均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次出血计算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grpSp>
        <p:nvGrpSpPr>
          <p:cNvPr id="468" name="组合 467">
            <a:extLst>
              <a:ext uri="{FF2B5EF4-FFF2-40B4-BE49-F238E27FC236}">
                <a16:creationId xmlns:a16="http://schemas.microsoft.com/office/drawing/2014/main" id="{98621E27-4FD1-315A-185E-EED691FC47DD}"/>
              </a:ext>
            </a:extLst>
          </p:cNvPr>
          <p:cNvGrpSpPr/>
          <p:nvPr/>
        </p:nvGrpSpPr>
        <p:grpSpPr>
          <a:xfrm>
            <a:off x="6251888" y="2238137"/>
            <a:ext cx="2519999" cy="665018"/>
            <a:chOff x="6251888" y="2574079"/>
            <a:chExt cx="2519999" cy="665018"/>
          </a:xfrm>
        </p:grpSpPr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F6087A67-5153-612D-B8CE-9670FEACAFC9}"/>
                </a:ext>
              </a:extLst>
            </p:cNvPr>
            <p:cNvSpPr/>
            <p:nvPr/>
          </p:nvSpPr>
          <p:spPr bwMode="gray">
            <a:xfrm>
              <a:off x="6251888" y="2574079"/>
              <a:ext cx="2519999" cy="665018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357188"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2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频繁静脉输注</a:t>
              </a:r>
            </a:p>
          </p:txBody>
        </p:sp>
        <p:sp>
          <p:nvSpPr>
            <p:cNvPr id="460" name="Freeform 20">
              <a:extLst>
                <a:ext uri="{FF2B5EF4-FFF2-40B4-BE49-F238E27FC236}">
                  <a16:creationId xmlns:a16="http://schemas.microsoft.com/office/drawing/2014/main" id="{67D038C1-EF05-AB33-1930-E714C9581A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2821" y="2657944"/>
              <a:ext cx="210304" cy="497289"/>
            </a:xfrm>
            <a:custGeom>
              <a:avLst/>
              <a:gdLst>
                <a:gd name="T0" fmla="*/ 66 w 147"/>
                <a:gd name="T1" fmla="*/ 266 h 347"/>
                <a:gd name="T2" fmla="*/ 82 w 147"/>
                <a:gd name="T3" fmla="*/ 266 h 347"/>
                <a:gd name="T4" fmla="*/ 82 w 147"/>
                <a:gd name="T5" fmla="*/ 249 h 347"/>
                <a:gd name="T6" fmla="*/ 122 w 147"/>
                <a:gd name="T7" fmla="*/ 208 h 347"/>
                <a:gd name="T8" fmla="*/ 122 w 147"/>
                <a:gd name="T9" fmla="*/ 181 h 347"/>
                <a:gd name="T10" fmla="*/ 26 w 147"/>
                <a:gd name="T11" fmla="*/ 181 h 347"/>
                <a:gd name="T12" fmla="*/ 26 w 147"/>
                <a:gd name="T13" fmla="*/ 208 h 347"/>
                <a:gd name="T14" fmla="*/ 66 w 147"/>
                <a:gd name="T15" fmla="*/ 249 h 347"/>
                <a:gd name="T16" fmla="*/ 66 w 147"/>
                <a:gd name="T17" fmla="*/ 266 h 347"/>
                <a:gd name="T18" fmla="*/ 122 w 147"/>
                <a:gd name="T19" fmla="*/ 126 h 347"/>
                <a:gd name="T20" fmla="*/ 26 w 147"/>
                <a:gd name="T21" fmla="*/ 126 h 347"/>
                <a:gd name="T22" fmla="*/ 26 w 147"/>
                <a:gd name="T23" fmla="*/ 168 h 347"/>
                <a:gd name="T24" fmla="*/ 122 w 147"/>
                <a:gd name="T25" fmla="*/ 168 h 347"/>
                <a:gd name="T26" fmla="*/ 122 w 147"/>
                <a:gd name="T27" fmla="*/ 126 h 347"/>
                <a:gd name="T28" fmla="*/ 14 w 147"/>
                <a:gd name="T29" fmla="*/ 86 h 347"/>
                <a:gd name="T30" fmla="*/ 68 w 147"/>
                <a:gd name="T31" fmla="*/ 86 h 347"/>
                <a:gd name="T32" fmla="*/ 68 w 147"/>
                <a:gd name="T33" fmla="*/ 47 h 347"/>
                <a:gd name="T34" fmla="*/ 50 w 147"/>
                <a:gd name="T35" fmla="*/ 24 h 347"/>
                <a:gd name="T36" fmla="*/ 74 w 147"/>
                <a:gd name="T37" fmla="*/ 0 h 347"/>
                <a:gd name="T38" fmla="*/ 97 w 147"/>
                <a:gd name="T39" fmla="*/ 24 h 347"/>
                <a:gd name="T40" fmla="*/ 86 w 147"/>
                <a:gd name="T41" fmla="*/ 24 h 347"/>
                <a:gd name="T42" fmla="*/ 74 w 147"/>
                <a:gd name="T43" fmla="*/ 12 h 347"/>
                <a:gd name="T44" fmla="*/ 61 w 147"/>
                <a:gd name="T45" fmla="*/ 24 h 347"/>
                <a:gd name="T46" fmla="*/ 74 w 147"/>
                <a:gd name="T47" fmla="*/ 36 h 347"/>
                <a:gd name="T48" fmla="*/ 79 w 147"/>
                <a:gd name="T49" fmla="*/ 42 h 347"/>
                <a:gd name="T50" fmla="*/ 79 w 147"/>
                <a:gd name="T51" fmla="*/ 86 h 347"/>
                <a:gd name="T52" fmla="*/ 133 w 147"/>
                <a:gd name="T53" fmla="*/ 86 h 347"/>
                <a:gd name="T54" fmla="*/ 147 w 147"/>
                <a:gd name="T55" fmla="*/ 100 h 347"/>
                <a:gd name="T56" fmla="*/ 147 w 147"/>
                <a:gd name="T57" fmla="*/ 112 h 347"/>
                <a:gd name="T58" fmla="*/ 134 w 147"/>
                <a:gd name="T59" fmla="*/ 126 h 347"/>
                <a:gd name="T60" fmla="*/ 134 w 147"/>
                <a:gd name="T61" fmla="*/ 208 h 347"/>
                <a:gd name="T62" fmla="*/ 94 w 147"/>
                <a:gd name="T63" fmla="*/ 254 h 347"/>
                <a:gd name="T64" fmla="*/ 94 w 147"/>
                <a:gd name="T65" fmla="*/ 267 h 347"/>
                <a:gd name="T66" fmla="*/ 101 w 147"/>
                <a:gd name="T67" fmla="*/ 279 h 347"/>
                <a:gd name="T68" fmla="*/ 101 w 147"/>
                <a:gd name="T69" fmla="*/ 293 h 347"/>
                <a:gd name="T70" fmla="*/ 88 w 147"/>
                <a:gd name="T71" fmla="*/ 306 h 347"/>
                <a:gd name="T72" fmla="*/ 78 w 147"/>
                <a:gd name="T73" fmla="*/ 306 h 347"/>
                <a:gd name="T74" fmla="*/ 78 w 147"/>
                <a:gd name="T75" fmla="*/ 347 h 347"/>
                <a:gd name="T76" fmla="*/ 70 w 147"/>
                <a:gd name="T77" fmla="*/ 347 h 347"/>
                <a:gd name="T78" fmla="*/ 70 w 147"/>
                <a:gd name="T79" fmla="*/ 306 h 347"/>
                <a:gd name="T80" fmla="*/ 60 w 147"/>
                <a:gd name="T81" fmla="*/ 306 h 347"/>
                <a:gd name="T82" fmla="*/ 47 w 147"/>
                <a:gd name="T83" fmla="*/ 293 h 347"/>
                <a:gd name="T84" fmla="*/ 47 w 147"/>
                <a:gd name="T85" fmla="*/ 279 h 347"/>
                <a:gd name="T86" fmla="*/ 54 w 147"/>
                <a:gd name="T87" fmla="*/ 267 h 347"/>
                <a:gd name="T88" fmla="*/ 54 w 147"/>
                <a:gd name="T89" fmla="*/ 254 h 347"/>
                <a:gd name="T90" fmla="*/ 14 w 147"/>
                <a:gd name="T91" fmla="*/ 208 h 347"/>
                <a:gd name="T92" fmla="*/ 14 w 147"/>
                <a:gd name="T93" fmla="*/ 126 h 347"/>
                <a:gd name="T94" fmla="*/ 0 w 147"/>
                <a:gd name="T95" fmla="*/ 112 h 347"/>
                <a:gd name="T96" fmla="*/ 0 w 147"/>
                <a:gd name="T97" fmla="*/ 100 h 347"/>
                <a:gd name="T98" fmla="*/ 14 w 147"/>
                <a:gd name="T99" fmla="*/ 86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7" h="347">
                  <a:moveTo>
                    <a:pt x="66" y="266"/>
                  </a:moveTo>
                  <a:cubicBezTo>
                    <a:pt x="82" y="266"/>
                    <a:pt x="82" y="266"/>
                    <a:pt x="82" y="266"/>
                  </a:cubicBezTo>
                  <a:cubicBezTo>
                    <a:pt x="82" y="249"/>
                    <a:pt x="82" y="249"/>
                    <a:pt x="82" y="249"/>
                  </a:cubicBezTo>
                  <a:cubicBezTo>
                    <a:pt x="82" y="237"/>
                    <a:pt x="122" y="246"/>
                    <a:pt x="122" y="208"/>
                  </a:cubicBezTo>
                  <a:cubicBezTo>
                    <a:pt x="122" y="181"/>
                    <a:pt x="122" y="181"/>
                    <a:pt x="122" y="181"/>
                  </a:cubicBezTo>
                  <a:cubicBezTo>
                    <a:pt x="26" y="181"/>
                    <a:pt x="26" y="181"/>
                    <a:pt x="26" y="181"/>
                  </a:cubicBezTo>
                  <a:cubicBezTo>
                    <a:pt x="26" y="208"/>
                    <a:pt x="26" y="208"/>
                    <a:pt x="26" y="208"/>
                  </a:cubicBezTo>
                  <a:cubicBezTo>
                    <a:pt x="26" y="246"/>
                    <a:pt x="66" y="237"/>
                    <a:pt x="66" y="249"/>
                  </a:cubicBezTo>
                  <a:cubicBezTo>
                    <a:pt x="66" y="266"/>
                    <a:pt x="66" y="266"/>
                    <a:pt x="66" y="266"/>
                  </a:cubicBezTo>
                  <a:close/>
                  <a:moveTo>
                    <a:pt x="122" y="126"/>
                  </a:moveTo>
                  <a:cubicBezTo>
                    <a:pt x="26" y="126"/>
                    <a:pt x="26" y="126"/>
                    <a:pt x="26" y="126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122" y="168"/>
                    <a:pt x="122" y="168"/>
                    <a:pt x="122" y="168"/>
                  </a:cubicBezTo>
                  <a:cubicBezTo>
                    <a:pt x="122" y="126"/>
                    <a:pt x="122" y="126"/>
                    <a:pt x="122" y="126"/>
                  </a:cubicBezTo>
                  <a:close/>
                  <a:moveTo>
                    <a:pt x="14" y="86"/>
                  </a:moveTo>
                  <a:cubicBezTo>
                    <a:pt x="68" y="86"/>
                    <a:pt x="68" y="86"/>
                    <a:pt x="68" y="86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57" y="44"/>
                    <a:pt x="50" y="35"/>
                    <a:pt x="50" y="24"/>
                  </a:cubicBezTo>
                  <a:cubicBezTo>
                    <a:pt x="50" y="11"/>
                    <a:pt x="60" y="0"/>
                    <a:pt x="74" y="0"/>
                  </a:cubicBezTo>
                  <a:cubicBezTo>
                    <a:pt x="87" y="0"/>
                    <a:pt x="97" y="11"/>
                    <a:pt x="97" y="24"/>
                  </a:cubicBezTo>
                  <a:cubicBezTo>
                    <a:pt x="97" y="32"/>
                    <a:pt x="86" y="32"/>
                    <a:pt x="86" y="24"/>
                  </a:cubicBezTo>
                  <a:cubicBezTo>
                    <a:pt x="86" y="17"/>
                    <a:pt x="80" y="12"/>
                    <a:pt x="74" y="12"/>
                  </a:cubicBezTo>
                  <a:cubicBezTo>
                    <a:pt x="67" y="12"/>
                    <a:pt x="61" y="17"/>
                    <a:pt x="61" y="24"/>
                  </a:cubicBezTo>
                  <a:cubicBezTo>
                    <a:pt x="61" y="31"/>
                    <a:pt x="67" y="36"/>
                    <a:pt x="74" y="36"/>
                  </a:cubicBezTo>
                  <a:cubicBezTo>
                    <a:pt x="77" y="36"/>
                    <a:pt x="79" y="39"/>
                    <a:pt x="79" y="42"/>
                  </a:cubicBezTo>
                  <a:cubicBezTo>
                    <a:pt x="79" y="86"/>
                    <a:pt x="79" y="86"/>
                    <a:pt x="79" y="86"/>
                  </a:cubicBezTo>
                  <a:cubicBezTo>
                    <a:pt x="133" y="86"/>
                    <a:pt x="133" y="86"/>
                    <a:pt x="133" y="86"/>
                  </a:cubicBezTo>
                  <a:cubicBezTo>
                    <a:pt x="141" y="86"/>
                    <a:pt x="147" y="92"/>
                    <a:pt x="147" y="100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7" y="119"/>
                    <a:pt x="141" y="125"/>
                    <a:pt x="134" y="126"/>
                  </a:cubicBezTo>
                  <a:cubicBezTo>
                    <a:pt x="134" y="208"/>
                    <a:pt x="134" y="208"/>
                    <a:pt x="134" y="208"/>
                  </a:cubicBezTo>
                  <a:cubicBezTo>
                    <a:pt x="134" y="232"/>
                    <a:pt x="117" y="251"/>
                    <a:pt x="94" y="254"/>
                  </a:cubicBezTo>
                  <a:cubicBezTo>
                    <a:pt x="94" y="267"/>
                    <a:pt x="94" y="267"/>
                    <a:pt x="94" y="267"/>
                  </a:cubicBezTo>
                  <a:cubicBezTo>
                    <a:pt x="98" y="269"/>
                    <a:pt x="101" y="274"/>
                    <a:pt x="101" y="279"/>
                  </a:cubicBezTo>
                  <a:cubicBezTo>
                    <a:pt x="101" y="293"/>
                    <a:pt x="101" y="293"/>
                    <a:pt x="101" y="293"/>
                  </a:cubicBezTo>
                  <a:cubicBezTo>
                    <a:pt x="101" y="300"/>
                    <a:pt x="95" y="306"/>
                    <a:pt x="88" y="306"/>
                  </a:cubicBezTo>
                  <a:cubicBezTo>
                    <a:pt x="78" y="306"/>
                    <a:pt x="78" y="306"/>
                    <a:pt x="78" y="306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70" y="347"/>
                    <a:pt x="70" y="347"/>
                    <a:pt x="70" y="347"/>
                  </a:cubicBezTo>
                  <a:cubicBezTo>
                    <a:pt x="70" y="306"/>
                    <a:pt x="70" y="306"/>
                    <a:pt x="70" y="306"/>
                  </a:cubicBezTo>
                  <a:cubicBezTo>
                    <a:pt x="60" y="306"/>
                    <a:pt x="60" y="306"/>
                    <a:pt x="60" y="306"/>
                  </a:cubicBezTo>
                  <a:cubicBezTo>
                    <a:pt x="52" y="306"/>
                    <a:pt x="47" y="300"/>
                    <a:pt x="47" y="293"/>
                  </a:cubicBezTo>
                  <a:cubicBezTo>
                    <a:pt x="47" y="279"/>
                    <a:pt x="47" y="279"/>
                    <a:pt x="47" y="279"/>
                  </a:cubicBezTo>
                  <a:cubicBezTo>
                    <a:pt x="47" y="274"/>
                    <a:pt x="49" y="269"/>
                    <a:pt x="54" y="267"/>
                  </a:cubicBezTo>
                  <a:cubicBezTo>
                    <a:pt x="54" y="254"/>
                    <a:pt x="54" y="254"/>
                    <a:pt x="54" y="254"/>
                  </a:cubicBezTo>
                  <a:cubicBezTo>
                    <a:pt x="31" y="251"/>
                    <a:pt x="14" y="232"/>
                    <a:pt x="14" y="208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6" y="126"/>
                    <a:pt x="0" y="119"/>
                    <a:pt x="0" y="11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2"/>
                    <a:pt x="7" y="86"/>
                    <a:pt x="14" y="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0949B57C-ABFB-A40C-2EFD-28A76EE54D31}"/>
              </a:ext>
            </a:extLst>
          </p:cNvPr>
          <p:cNvSpPr/>
          <p:nvPr/>
        </p:nvSpPr>
        <p:spPr bwMode="gray">
          <a:xfrm>
            <a:off x="496675" y="2903155"/>
            <a:ext cx="2520000" cy="1108463"/>
          </a:xfrm>
          <a:prstGeom prst="roundRect">
            <a:avLst>
              <a:gd name="adj" fmla="val 6127"/>
            </a:avLst>
          </a:prstGeom>
          <a:solidFill>
            <a:srgbClr val="EBF7FF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均出血</a:t>
            </a:r>
            <a:r>
              <a:rPr lang="en-US" altLang="zh-CN" sz="2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2</a:t>
            </a:r>
            <a:r>
              <a:rPr lang="zh-CN" altLang="en-US" sz="2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endParaRPr lang="en-US" altLang="zh-CN" sz="2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成人患者）</a:t>
            </a: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591B9AC9-8F4D-0E44-11E0-6C8C175B3505}"/>
              </a:ext>
            </a:extLst>
          </p:cNvPr>
          <p:cNvSpPr/>
          <p:nvPr/>
        </p:nvSpPr>
        <p:spPr bwMode="gray">
          <a:xfrm>
            <a:off x="496675" y="4082568"/>
            <a:ext cx="2520000" cy="1441325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2563" indent="-182563" fontAlgn="base">
              <a:lnSpc>
                <a:spcPct val="120000"/>
              </a:lnSpc>
              <a:spcAft>
                <a:spcPts val="3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血友病患者真实世界研究显示，成人血友病患者年均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出血次数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2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12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70" name="组合 469">
            <a:extLst>
              <a:ext uri="{FF2B5EF4-FFF2-40B4-BE49-F238E27FC236}">
                <a16:creationId xmlns:a16="http://schemas.microsoft.com/office/drawing/2014/main" id="{70294676-65CE-E461-7B3B-33B33D61EC48}"/>
              </a:ext>
            </a:extLst>
          </p:cNvPr>
          <p:cNvGrpSpPr/>
          <p:nvPr/>
        </p:nvGrpSpPr>
        <p:grpSpPr>
          <a:xfrm>
            <a:off x="496675" y="2238137"/>
            <a:ext cx="2519999" cy="665018"/>
            <a:chOff x="496675" y="2574079"/>
            <a:chExt cx="2519999" cy="665018"/>
          </a:xfrm>
        </p:grpSpPr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C138D60D-CE60-0198-84A1-E4E981A70B07}"/>
                </a:ext>
              </a:extLst>
            </p:cNvPr>
            <p:cNvSpPr/>
            <p:nvPr/>
          </p:nvSpPr>
          <p:spPr bwMode="gray">
            <a:xfrm>
              <a:off x="496675" y="2574079"/>
              <a:ext cx="2519999" cy="665018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357188"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2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出血频繁</a:t>
              </a:r>
            </a:p>
          </p:txBody>
        </p:sp>
        <p:sp>
          <p:nvSpPr>
            <p:cNvPr id="461" name="Freeform 221">
              <a:extLst>
                <a:ext uri="{FF2B5EF4-FFF2-40B4-BE49-F238E27FC236}">
                  <a16:creationId xmlns:a16="http://schemas.microsoft.com/office/drawing/2014/main" id="{09E2F3A7-C1F8-38BB-7377-2D1C20EAE15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18165" y="2708588"/>
              <a:ext cx="307103" cy="396000"/>
            </a:xfrm>
            <a:custGeom>
              <a:avLst/>
              <a:gdLst>
                <a:gd name="T0" fmla="*/ 24 w 48"/>
                <a:gd name="T1" fmla="*/ 0 h 62"/>
                <a:gd name="T2" fmla="*/ 0 w 48"/>
                <a:gd name="T3" fmla="*/ 38 h 62"/>
                <a:gd name="T4" fmla="*/ 24 w 48"/>
                <a:gd name="T5" fmla="*/ 62 h 62"/>
                <a:gd name="T6" fmla="*/ 48 w 48"/>
                <a:gd name="T7" fmla="*/ 38 h 62"/>
                <a:gd name="T8" fmla="*/ 24 w 48"/>
                <a:gd name="T9" fmla="*/ 0 h 62"/>
                <a:gd name="T10" fmla="*/ 6 w 48"/>
                <a:gd name="T11" fmla="*/ 50 h 62"/>
                <a:gd name="T12" fmla="*/ 5 w 48"/>
                <a:gd name="T13" fmla="*/ 49 h 62"/>
                <a:gd name="T14" fmla="*/ 6 w 48"/>
                <a:gd name="T15" fmla="*/ 48 h 62"/>
                <a:gd name="T16" fmla="*/ 7 w 48"/>
                <a:gd name="T17" fmla="*/ 49 h 62"/>
                <a:gd name="T18" fmla="*/ 6 w 48"/>
                <a:gd name="T19" fmla="*/ 50 h 62"/>
                <a:gd name="T20" fmla="*/ 36 w 48"/>
                <a:gd name="T21" fmla="*/ 41 h 62"/>
                <a:gd name="T22" fmla="*/ 32 w 48"/>
                <a:gd name="T23" fmla="*/ 48 h 62"/>
                <a:gd name="T24" fmla="*/ 28 w 48"/>
                <a:gd name="T25" fmla="*/ 46 h 62"/>
                <a:gd name="T26" fmla="*/ 28 w 48"/>
                <a:gd name="T27" fmla="*/ 51 h 62"/>
                <a:gd name="T28" fmla="*/ 20 w 48"/>
                <a:gd name="T29" fmla="*/ 51 h 62"/>
                <a:gd name="T30" fmla="*/ 20 w 48"/>
                <a:gd name="T31" fmla="*/ 46 h 62"/>
                <a:gd name="T32" fmla="*/ 16 w 48"/>
                <a:gd name="T33" fmla="*/ 48 h 62"/>
                <a:gd name="T34" fmla="*/ 12 w 48"/>
                <a:gd name="T35" fmla="*/ 41 h 62"/>
                <a:gd name="T36" fmla="*/ 16 w 48"/>
                <a:gd name="T37" fmla="*/ 39 h 62"/>
                <a:gd name="T38" fmla="*/ 12 w 48"/>
                <a:gd name="T39" fmla="*/ 36 h 62"/>
                <a:gd name="T40" fmla="*/ 16 w 48"/>
                <a:gd name="T41" fmla="*/ 29 h 62"/>
                <a:gd name="T42" fmla="*/ 20 w 48"/>
                <a:gd name="T43" fmla="*/ 32 h 62"/>
                <a:gd name="T44" fmla="*/ 20 w 48"/>
                <a:gd name="T45" fmla="*/ 27 h 62"/>
                <a:gd name="T46" fmla="*/ 28 w 48"/>
                <a:gd name="T47" fmla="*/ 27 h 62"/>
                <a:gd name="T48" fmla="*/ 28 w 48"/>
                <a:gd name="T49" fmla="*/ 32 h 62"/>
                <a:gd name="T50" fmla="*/ 32 w 48"/>
                <a:gd name="T51" fmla="*/ 29 h 62"/>
                <a:gd name="T52" fmla="*/ 36 w 48"/>
                <a:gd name="T53" fmla="*/ 36 h 62"/>
                <a:gd name="T54" fmla="*/ 32 w 48"/>
                <a:gd name="T55" fmla="*/ 39 h 62"/>
                <a:gd name="T56" fmla="*/ 36 w 48"/>
                <a:gd name="T57" fmla="*/ 41 h 62"/>
                <a:gd name="T58" fmla="*/ 35 w 48"/>
                <a:gd name="T59" fmla="*/ 26 h 62"/>
                <a:gd name="T60" fmla="*/ 38 w 48"/>
                <a:gd name="T61" fmla="*/ 23 h 62"/>
                <a:gd name="T62" fmla="*/ 41 w 48"/>
                <a:gd name="T63" fmla="*/ 26 h 62"/>
                <a:gd name="T64" fmla="*/ 38 w 48"/>
                <a:gd name="T65" fmla="*/ 29 h 62"/>
                <a:gd name="T66" fmla="*/ 35 w 48"/>
                <a:gd name="T67" fmla="*/ 26 h 62"/>
                <a:gd name="T68" fmla="*/ 41 w 48"/>
                <a:gd name="T69" fmla="*/ 33 h 62"/>
                <a:gd name="T70" fmla="*/ 39 w 48"/>
                <a:gd name="T71" fmla="*/ 31 h 62"/>
                <a:gd name="T72" fmla="*/ 41 w 48"/>
                <a:gd name="T73" fmla="*/ 30 h 62"/>
                <a:gd name="T74" fmla="*/ 43 w 48"/>
                <a:gd name="T75" fmla="*/ 31 h 62"/>
                <a:gd name="T76" fmla="*/ 41 w 48"/>
                <a:gd name="T77" fmla="*/ 3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2">
                  <a:moveTo>
                    <a:pt x="24" y="0"/>
                  </a:moveTo>
                  <a:cubicBezTo>
                    <a:pt x="24" y="0"/>
                    <a:pt x="0" y="24"/>
                    <a:pt x="0" y="38"/>
                  </a:cubicBezTo>
                  <a:cubicBezTo>
                    <a:pt x="0" y="51"/>
                    <a:pt x="10" y="62"/>
                    <a:pt x="24" y="62"/>
                  </a:cubicBezTo>
                  <a:cubicBezTo>
                    <a:pt x="37" y="62"/>
                    <a:pt x="48" y="51"/>
                    <a:pt x="48" y="38"/>
                  </a:cubicBezTo>
                  <a:cubicBezTo>
                    <a:pt x="48" y="24"/>
                    <a:pt x="24" y="0"/>
                    <a:pt x="24" y="0"/>
                  </a:cubicBezTo>
                  <a:close/>
                  <a:moveTo>
                    <a:pt x="6" y="50"/>
                  </a:moveTo>
                  <a:cubicBezTo>
                    <a:pt x="5" y="50"/>
                    <a:pt x="5" y="50"/>
                    <a:pt x="5" y="49"/>
                  </a:cubicBezTo>
                  <a:cubicBezTo>
                    <a:pt x="5" y="48"/>
                    <a:pt x="5" y="48"/>
                    <a:pt x="6" y="48"/>
                  </a:cubicBezTo>
                  <a:cubicBezTo>
                    <a:pt x="7" y="48"/>
                    <a:pt x="7" y="48"/>
                    <a:pt x="7" y="49"/>
                  </a:cubicBezTo>
                  <a:cubicBezTo>
                    <a:pt x="7" y="50"/>
                    <a:pt x="7" y="50"/>
                    <a:pt x="6" y="50"/>
                  </a:cubicBezTo>
                  <a:close/>
                  <a:moveTo>
                    <a:pt x="36" y="41"/>
                  </a:moveTo>
                  <a:cubicBezTo>
                    <a:pt x="32" y="48"/>
                    <a:pt x="32" y="48"/>
                    <a:pt x="32" y="48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36" y="41"/>
                  </a:lnTo>
                  <a:close/>
                  <a:moveTo>
                    <a:pt x="35" y="26"/>
                  </a:moveTo>
                  <a:cubicBezTo>
                    <a:pt x="35" y="24"/>
                    <a:pt x="36" y="23"/>
                    <a:pt x="38" y="23"/>
                  </a:cubicBezTo>
                  <a:cubicBezTo>
                    <a:pt x="40" y="23"/>
                    <a:pt x="41" y="24"/>
                    <a:pt x="41" y="26"/>
                  </a:cubicBezTo>
                  <a:cubicBezTo>
                    <a:pt x="41" y="28"/>
                    <a:pt x="40" y="29"/>
                    <a:pt x="38" y="29"/>
                  </a:cubicBezTo>
                  <a:cubicBezTo>
                    <a:pt x="36" y="29"/>
                    <a:pt x="35" y="28"/>
                    <a:pt x="35" y="26"/>
                  </a:cubicBezTo>
                  <a:close/>
                  <a:moveTo>
                    <a:pt x="41" y="33"/>
                  </a:moveTo>
                  <a:cubicBezTo>
                    <a:pt x="40" y="33"/>
                    <a:pt x="39" y="33"/>
                    <a:pt x="39" y="31"/>
                  </a:cubicBezTo>
                  <a:cubicBezTo>
                    <a:pt x="39" y="30"/>
                    <a:pt x="40" y="30"/>
                    <a:pt x="41" y="30"/>
                  </a:cubicBezTo>
                  <a:cubicBezTo>
                    <a:pt x="42" y="30"/>
                    <a:pt x="43" y="30"/>
                    <a:pt x="43" y="31"/>
                  </a:cubicBezTo>
                  <a:cubicBezTo>
                    <a:pt x="43" y="33"/>
                    <a:pt x="42" y="33"/>
                    <a:pt x="41" y="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36" name="矩形: 圆角 35">
            <a:extLst>
              <a:ext uri="{FF2B5EF4-FFF2-40B4-BE49-F238E27FC236}">
                <a16:creationId xmlns:a16="http://schemas.microsoft.com/office/drawing/2014/main" id="{0DA92B7A-ED1B-E5F6-CD07-D3F98AD79B80}"/>
              </a:ext>
            </a:extLst>
          </p:cNvPr>
          <p:cNvSpPr/>
          <p:nvPr/>
        </p:nvSpPr>
        <p:spPr bwMode="gray">
          <a:xfrm>
            <a:off x="9129496" y="2903152"/>
            <a:ext cx="2520000" cy="1108463"/>
          </a:xfrm>
          <a:prstGeom prst="roundRect">
            <a:avLst>
              <a:gd name="adj" fmla="val 6127"/>
            </a:avLst>
          </a:prstGeom>
          <a:solidFill>
            <a:srgbClr val="EBF7FF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因子药品用量高</a:t>
            </a:r>
            <a:endParaRPr lang="en-US" altLang="zh-CN" sz="22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费用不可控</a:t>
            </a: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51F1FB56-C1E6-4EF3-9ACF-D25DBB3110CC}"/>
              </a:ext>
            </a:extLst>
          </p:cNvPr>
          <p:cNvSpPr/>
          <p:nvPr/>
        </p:nvSpPr>
        <p:spPr bwMode="gray">
          <a:xfrm>
            <a:off x="9129492" y="4082568"/>
            <a:ext cx="2520000" cy="1441325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2563" indent="-182563" fontAlgn="base">
              <a:lnSpc>
                <a:spcPct val="120000"/>
              </a:lnSpc>
              <a:spcAft>
                <a:spcPts val="3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因子药品花费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-100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根据体重、注射频率等多因素调整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2563" indent="-182563" fontAlgn="base">
              <a:lnSpc>
                <a:spcPct val="120000"/>
              </a:lnSpc>
              <a:spcAft>
                <a:spcPts val="3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因子预防用量高、按需治疗的实际用量差异大，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临床难管理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2563" indent="-182563" fontAlgn="base">
              <a:lnSpc>
                <a:spcPct val="120000"/>
              </a:lnSpc>
              <a:spcAft>
                <a:spcPts val="3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真实世界研究，人均直接医疗成本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5.5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</p:txBody>
      </p:sp>
      <p:grpSp>
        <p:nvGrpSpPr>
          <p:cNvPr id="467" name="组合 466">
            <a:extLst>
              <a:ext uri="{FF2B5EF4-FFF2-40B4-BE49-F238E27FC236}">
                <a16:creationId xmlns:a16="http://schemas.microsoft.com/office/drawing/2014/main" id="{FD8FAC0B-166D-94AC-2784-E2CAF7BBD1A8}"/>
              </a:ext>
            </a:extLst>
          </p:cNvPr>
          <p:cNvGrpSpPr/>
          <p:nvPr/>
        </p:nvGrpSpPr>
        <p:grpSpPr>
          <a:xfrm>
            <a:off x="9129493" y="2238137"/>
            <a:ext cx="2519999" cy="665018"/>
            <a:chOff x="9129493" y="2574079"/>
            <a:chExt cx="2519999" cy="665018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DF9BEA98-783E-D057-3904-74BDA0298A52}"/>
                </a:ext>
              </a:extLst>
            </p:cNvPr>
            <p:cNvSpPr/>
            <p:nvPr/>
          </p:nvSpPr>
          <p:spPr bwMode="gray">
            <a:xfrm>
              <a:off x="9129493" y="2574079"/>
              <a:ext cx="2519999" cy="665018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357188"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2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经济负担重</a:t>
              </a:r>
            </a:p>
          </p:txBody>
        </p:sp>
        <p:pic>
          <p:nvPicPr>
            <p:cNvPr id="466" name="图形 465" descr="钱 纯色填充">
              <a:extLst>
                <a:ext uri="{FF2B5EF4-FFF2-40B4-BE49-F238E27FC236}">
                  <a16:creationId xmlns:a16="http://schemas.microsoft.com/office/drawing/2014/main" id="{DCFFD4CD-31DF-3A34-EBAE-9789161C090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326710" y="2708588"/>
              <a:ext cx="396000" cy="396000"/>
            </a:xfrm>
            <a:prstGeom prst="rect">
              <a:avLst/>
            </a:prstGeom>
          </p:spPr>
        </p:pic>
      </p:grp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C3B548B6-8375-57B8-67BA-89B52507E614}"/>
              </a:ext>
            </a:extLst>
          </p:cNvPr>
          <p:cNvSpPr/>
          <p:nvPr/>
        </p:nvSpPr>
        <p:spPr bwMode="gray">
          <a:xfrm>
            <a:off x="3374282" y="2903154"/>
            <a:ext cx="2520000" cy="1108463"/>
          </a:xfrm>
          <a:prstGeom prst="roundRect">
            <a:avLst>
              <a:gd name="adj" fmla="val 6127"/>
            </a:avLst>
          </a:prstGeom>
          <a:solidFill>
            <a:srgbClr val="EBF7FF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残疾率</a:t>
            </a:r>
            <a:r>
              <a:rPr lang="en-US" altLang="zh-CN" sz="2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%</a:t>
            </a:r>
          </a:p>
          <a:p>
            <a:pPr algn="ctr" fontAlgn="base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岁以上）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D7F2E240-ADB5-8260-9D1C-51978ECA61A6}"/>
              </a:ext>
            </a:extLst>
          </p:cNvPr>
          <p:cNvSpPr/>
          <p:nvPr/>
        </p:nvSpPr>
        <p:spPr bwMode="gray">
          <a:xfrm>
            <a:off x="3374283" y="4082568"/>
            <a:ext cx="2520000" cy="1441325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2563" indent="-182563" fontAlgn="base">
              <a:lnSpc>
                <a:spcPct val="120000"/>
              </a:lnSpc>
              <a:spcAft>
                <a:spcPts val="3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血友病患者真实世界研究显示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岁以上患者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残疾率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0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持残疾证）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76" name="组合 475">
            <a:extLst>
              <a:ext uri="{FF2B5EF4-FFF2-40B4-BE49-F238E27FC236}">
                <a16:creationId xmlns:a16="http://schemas.microsoft.com/office/drawing/2014/main" id="{22DCA743-BEAF-74D7-CD71-39E843201974}"/>
              </a:ext>
            </a:extLst>
          </p:cNvPr>
          <p:cNvGrpSpPr/>
          <p:nvPr/>
        </p:nvGrpSpPr>
        <p:grpSpPr>
          <a:xfrm>
            <a:off x="3374283" y="2238137"/>
            <a:ext cx="2519999" cy="665018"/>
            <a:chOff x="3374283" y="2599018"/>
            <a:chExt cx="2519999" cy="665018"/>
          </a:xfrm>
        </p:grpSpPr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B3A0862D-8F89-C2E0-3A6C-03FC078EEF75}"/>
                </a:ext>
              </a:extLst>
            </p:cNvPr>
            <p:cNvSpPr/>
            <p:nvPr/>
          </p:nvSpPr>
          <p:spPr bwMode="gray">
            <a:xfrm>
              <a:off x="3374283" y="2599018"/>
              <a:ext cx="2519999" cy="665018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357188"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2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残疾率高</a:t>
              </a:r>
            </a:p>
          </p:txBody>
        </p:sp>
        <p:pic>
          <p:nvPicPr>
            <p:cNvPr id="475" name="图形 474" descr="坐在轮椅上的人 纯色填充">
              <a:extLst>
                <a:ext uri="{FF2B5EF4-FFF2-40B4-BE49-F238E27FC236}">
                  <a16:creationId xmlns:a16="http://schemas.microsoft.com/office/drawing/2014/main" id="{222F7720-A227-7D6A-4968-0AEDD47A785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618320" y="2692501"/>
              <a:ext cx="468000" cy="468000"/>
            </a:xfrm>
            <a:prstGeom prst="rect">
              <a:avLst/>
            </a:prstGeom>
          </p:spPr>
        </p:pic>
      </p:grpSp>
      <p:sp>
        <p:nvSpPr>
          <p:cNvPr id="4" name="矩形 3">
            <a:extLst>
              <a:ext uri="{FF2B5EF4-FFF2-40B4-BE49-F238E27FC236}">
                <a16:creationId xmlns:a16="http://schemas.microsoft.com/office/drawing/2014/main" id="{3A4DC24D-6F9B-8329-BCD5-12F0F6D6DF30}"/>
              </a:ext>
            </a:extLst>
          </p:cNvPr>
          <p:cNvSpPr/>
          <p:nvPr/>
        </p:nvSpPr>
        <p:spPr bwMode="gray">
          <a:xfrm>
            <a:off x="347738" y="0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疾病及未满足需求</a:t>
            </a:r>
          </a:p>
        </p:txBody>
      </p:sp>
    </p:spTree>
    <p:extLst>
      <p:ext uri="{BB962C8B-B14F-4D97-AF65-F5344CB8AC3E}">
        <p14:creationId xmlns:p14="http://schemas.microsoft.com/office/powerpoint/2010/main" val="31219392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605061-AA7D-5D1D-C3C0-E94187DF8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885F047C-6090-9CB3-9343-1D659251879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8521148"/>
              </p:ext>
            </p:ext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885F047C-6090-9CB3-9343-1D65925187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" name="矩形 480">
            <a:extLst>
              <a:ext uri="{FF2B5EF4-FFF2-40B4-BE49-F238E27FC236}">
                <a16:creationId xmlns:a16="http://schemas.microsoft.com/office/drawing/2014/main" id="{8DCC3953-D778-FD6A-2289-AA7B413903CC}"/>
              </a:ext>
            </a:extLst>
          </p:cNvPr>
          <p:cNvSpPr/>
          <p:nvPr/>
        </p:nvSpPr>
        <p:spPr bwMode="gray">
          <a:xfrm>
            <a:off x="9524710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马塔西单抗注射液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8AA0223F-DE3A-C711-DA4B-93C98841A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449367" cy="740918"/>
          </a:xfrm>
        </p:spPr>
        <p:txBody>
          <a:bodyPr vert="horz" rIns="0"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面，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凝血再平衡机制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靶向阻断</a:t>
            </a:r>
            <a:r>
              <a:rPr lang="en-US" altLang="zh-CN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FPI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凝血因子的抑制作用，恢复血友病患者凝血功能，带来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破性疗效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优安全性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便利性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关键三期研究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发生血栓事件</a:t>
            </a:r>
            <a:endParaRPr lang="zh-CN" altLang="en-US" sz="2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C83483A4-B48E-E27A-50D4-0F5F6BC6300F}"/>
              </a:ext>
            </a:extLst>
          </p:cNvPr>
          <p:cNvSpPr/>
          <p:nvPr/>
        </p:nvSpPr>
        <p:spPr bwMode="gray">
          <a:xfrm>
            <a:off x="499795" y="1746027"/>
            <a:ext cx="11235005" cy="420283"/>
          </a:xfrm>
          <a:prstGeom prst="rect">
            <a:avLst/>
          </a:prstGeom>
          <a:solidFill>
            <a:srgbClr val="E1F5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册分类为：治疗类生物制剂</a:t>
            </a:r>
            <a:r>
              <a:rPr lang="en-US" altLang="zh-CN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</a:t>
            </a:r>
            <a:endParaRPr lang="zh-CN" altLang="en-US" sz="15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7DDAC911-3758-BC79-D3AD-40B8D5769851}"/>
              </a:ext>
            </a:extLst>
          </p:cNvPr>
          <p:cNvSpPr/>
          <p:nvPr/>
        </p:nvSpPr>
        <p:spPr bwMode="gray">
          <a:xfrm>
            <a:off x="499796" y="2328819"/>
            <a:ext cx="5924247" cy="36695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144000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人源靶向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TFPI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抑制剂，重塑凝血再平衡</a:t>
            </a:r>
          </a:p>
          <a:p>
            <a:pPr algn="ctr"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US" altLang="zh-CN" sz="13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46A31E13-F2B8-FF35-1A11-C56317B5DA14}"/>
              </a:ext>
            </a:extLst>
          </p:cNvPr>
          <p:cNvSpPr/>
          <p:nvPr/>
        </p:nvSpPr>
        <p:spPr bwMode="gray">
          <a:xfrm>
            <a:off x="7859432" y="2516211"/>
            <a:ext cx="3875368" cy="1044000"/>
          </a:xfrm>
          <a:prstGeom prst="rect">
            <a:avLst/>
          </a:prstGeom>
          <a:solidFill>
            <a:srgbClr val="E1F5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3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均出血率降低</a:t>
            </a:r>
            <a:r>
              <a:rPr lang="en-US" altLang="zh-CN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2%</a:t>
            </a:r>
            <a:r>
              <a:rPr lang="en-US" altLang="zh-CN" sz="2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BA768A88-0470-2D93-B6C0-F29BF34D65FC}"/>
              </a:ext>
            </a:extLst>
          </p:cNvPr>
          <p:cNvSpPr/>
          <p:nvPr/>
        </p:nvSpPr>
        <p:spPr bwMode="gray">
          <a:xfrm>
            <a:off x="7859432" y="3670075"/>
            <a:ext cx="3875368" cy="1044000"/>
          </a:xfrm>
          <a:prstGeom prst="rect">
            <a:avLst/>
          </a:prstGeom>
          <a:solidFill>
            <a:srgbClr val="E1F5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3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发生血栓事件</a:t>
            </a:r>
            <a:r>
              <a:rPr lang="en-US" altLang="zh-CN" sz="2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  <a:p>
            <a:pPr algn="ctr" fontAlgn="base">
              <a:lnSpc>
                <a:spcPct val="13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关键三期研究）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CB17B6EB-FBAC-D441-A2D7-C6AF550336DA}"/>
              </a:ext>
            </a:extLst>
          </p:cNvPr>
          <p:cNvSpPr/>
          <p:nvPr/>
        </p:nvSpPr>
        <p:spPr bwMode="gray">
          <a:xfrm>
            <a:off x="7859432" y="4823939"/>
            <a:ext cx="3875368" cy="1044000"/>
          </a:xfrm>
          <a:prstGeom prst="rect">
            <a:avLst/>
          </a:prstGeom>
          <a:solidFill>
            <a:srgbClr val="E1F5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3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周一次、皮下给药</a:t>
            </a:r>
            <a:endParaRPr lang="en-US" altLang="zh-CN" sz="2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lnSpc>
                <a:spcPct val="13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固定剂量</a:t>
            </a:r>
            <a:endParaRPr lang="en-US" altLang="zh-CN" sz="2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4" name="组合 53">
            <a:extLst>
              <a:ext uri="{FF2B5EF4-FFF2-40B4-BE49-F238E27FC236}">
                <a16:creationId xmlns:a16="http://schemas.microsoft.com/office/drawing/2014/main" id="{118885E8-33F3-A96C-F930-F4BC55C418C4}"/>
              </a:ext>
            </a:extLst>
          </p:cNvPr>
          <p:cNvGrpSpPr/>
          <p:nvPr/>
        </p:nvGrpSpPr>
        <p:grpSpPr>
          <a:xfrm>
            <a:off x="6389582" y="2862332"/>
            <a:ext cx="544320" cy="351757"/>
            <a:chOff x="6434051" y="2892827"/>
            <a:chExt cx="365757" cy="515391"/>
          </a:xfrm>
          <a:solidFill>
            <a:schemeClr val="bg1">
              <a:lumMod val="50000"/>
            </a:schemeClr>
          </a:solidFill>
        </p:grpSpPr>
        <p:grpSp>
          <p:nvGrpSpPr>
            <p:cNvPr id="55" name="组合 54">
              <a:extLst>
                <a:ext uri="{FF2B5EF4-FFF2-40B4-BE49-F238E27FC236}">
                  <a16:creationId xmlns:a16="http://schemas.microsoft.com/office/drawing/2014/main" id="{EA266F8D-13B5-7FEE-93E7-DCCF4EDBC059}"/>
                </a:ext>
              </a:extLst>
            </p:cNvPr>
            <p:cNvGrpSpPr/>
            <p:nvPr/>
          </p:nvGrpSpPr>
          <p:grpSpPr>
            <a:xfrm>
              <a:off x="6434051" y="2892828"/>
              <a:ext cx="290944" cy="515390"/>
              <a:chOff x="6434051" y="2892828"/>
              <a:chExt cx="290944" cy="515390"/>
            </a:xfrm>
            <a:grpFill/>
          </p:grpSpPr>
          <p:sp>
            <p:nvSpPr>
              <p:cNvPr id="57" name="等腰三角形 56">
                <a:extLst>
                  <a:ext uri="{FF2B5EF4-FFF2-40B4-BE49-F238E27FC236}">
                    <a16:creationId xmlns:a16="http://schemas.microsoft.com/office/drawing/2014/main" id="{7808EB91-1F20-B8D7-BDA9-256F53400AAC}"/>
                  </a:ext>
                </a:extLst>
              </p:cNvPr>
              <p:cNvSpPr/>
              <p:nvPr/>
            </p:nvSpPr>
            <p:spPr bwMode="gray">
              <a:xfrm rot="5400000">
                <a:off x="6284422" y="3042458"/>
                <a:ext cx="515389" cy="216131"/>
              </a:xfrm>
              <a:prstGeom prst="triangle">
                <a:avLst/>
              </a:prstGeom>
              <a:grpFill/>
              <a:ln w="6350" cap="flat" cmpd="sng" algn="ctr">
                <a:solidFill>
                  <a:schemeClr val="bg1">
                    <a:lumMod val="8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0000"/>
                  </a:lnSpc>
                  <a:spcAft>
                    <a:spcPct val="0"/>
                  </a:spcAft>
                  <a:buClr>
                    <a:schemeClr val="accent2"/>
                  </a:buClr>
                  <a:buSzPct val="90000"/>
                </a:pPr>
                <a:endParaRPr lang="zh-CN" altLang="en-US" b="1" dirty="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58" name="等腰三角形 57">
                <a:extLst>
                  <a:ext uri="{FF2B5EF4-FFF2-40B4-BE49-F238E27FC236}">
                    <a16:creationId xmlns:a16="http://schemas.microsoft.com/office/drawing/2014/main" id="{3EF37DE1-88EB-A713-0D72-256C5A844BAA}"/>
                  </a:ext>
                </a:extLst>
              </p:cNvPr>
              <p:cNvSpPr/>
              <p:nvPr/>
            </p:nvSpPr>
            <p:spPr bwMode="gray">
              <a:xfrm rot="5400000">
                <a:off x="6359235" y="3042457"/>
                <a:ext cx="515389" cy="216131"/>
              </a:xfrm>
              <a:prstGeom prst="triangle">
                <a:avLst/>
              </a:prstGeom>
              <a:grpFill/>
              <a:ln w="6350" cap="flat" cmpd="sng" algn="ctr">
                <a:solidFill>
                  <a:schemeClr val="bg1">
                    <a:lumMod val="8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0000"/>
                  </a:lnSpc>
                  <a:spcAft>
                    <a:spcPct val="0"/>
                  </a:spcAft>
                  <a:buClr>
                    <a:schemeClr val="accent2"/>
                  </a:buClr>
                  <a:buSzPct val="90000"/>
                </a:pPr>
                <a:endParaRPr lang="zh-CN" altLang="en-US" b="1" dirty="0">
                  <a:solidFill>
                    <a:schemeClr val="accent1"/>
                  </a:solidFill>
                  <a:latin typeface="+mj-lt"/>
                </a:endParaRPr>
              </a:p>
            </p:txBody>
          </p:sp>
        </p:grpSp>
        <p:sp>
          <p:nvSpPr>
            <p:cNvPr id="56" name="等腰三角形 55">
              <a:extLst>
                <a:ext uri="{FF2B5EF4-FFF2-40B4-BE49-F238E27FC236}">
                  <a16:creationId xmlns:a16="http://schemas.microsoft.com/office/drawing/2014/main" id="{EB22A492-3107-89F3-EA8A-C5B059C4B094}"/>
                </a:ext>
              </a:extLst>
            </p:cNvPr>
            <p:cNvSpPr/>
            <p:nvPr/>
          </p:nvSpPr>
          <p:spPr bwMode="gray">
            <a:xfrm rot="5400000">
              <a:off x="6434048" y="3042456"/>
              <a:ext cx="515389" cy="216131"/>
            </a:xfrm>
            <a:prstGeom prst="triangle">
              <a:avLst/>
            </a:prstGeom>
            <a:grpFill/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43FCBC7B-420A-EF4A-D26E-BB1BAA69DDB1}"/>
              </a:ext>
            </a:extLst>
          </p:cNvPr>
          <p:cNvGrpSpPr/>
          <p:nvPr/>
        </p:nvGrpSpPr>
        <p:grpSpPr>
          <a:xfrm>
            <a:off x="6393600" y="4018429"/>
            <a:ext cx="544320" cy="351757"/>
            <a:chOff x="6434051" y="2892827"/>
            <a:chExt cx="365757" cy="515391"/>
          </a:xfrm>
          <a:solidFill>
            <a:schemeClr val="bg1">
              <a:lumMod val="50000"/>
            </a:schemeClr>
          </a:solidFill>
        </p:grpSpPr>
        <p:grpSp>
          <p:nvGrpSpPr>
            <p:cNvPr id="60" name="组合 59">
              <a:extLst>
                <a:ext uri="{FF2B5EF4-FFF2-40B4-BE49-F238E27FC236}">
                  <a16:creationId xmlns:a16="http://schemas.microsoft.com/office/drawing/2014/main" id="{49003494-B0E0-5F07-471F-59DEE4A25CE1}"/>
                </a:ext>
              </a:extLst>
            </p:cNvPr>
            <p:cNvGrpSpPr/>
            <p:nvPr/>
          </p:nvGrpSpPr>
          <p:grpSpPr>
            <a:xfrm>
              <a:off x="6434051" y="2892828"/>
              <a:ext cx="290944" cy="515390"/>
              <a:chOff x="6434051" y="2892828"/>
              <a:chExt cx="290944" cy="515390"/>
            </a:xfrm>
            <a:grpFill/>
          </p:grpSpPr>
          <p:sp>
            <p:nvSpPr>
              <p:cNvPr id="62" name="等腰三角形 61">
                <a:extLst>
                  <a:ext uri="{FF2B5EF4-FFF2-40B4-BE49-F238E27FC236}">
                    <a16:creationId xmlns:a16="http://schemas.microsoft.com/office/drawing/2014/main" id="{66764259-6F68-BFF6-D2B7-8519CDFA6B90}"/>
                  </a:ext>
                </a:extLst>
              </p:cNvPr>
              <p:cNvSpPr/>
              <p:nvPr/>
            </p:nvSpPr>
            <p:spPr bwMode="gray">
              <a:xfrm rot="5400000">
                <a:off x="6284422" y="3042458"/>
                <a:ext cx="515389" cy="216131"/>
              </a:xfrm>
              <a:prstGeom prst="triangle">
                <a:avLst/>
              </a:prstGeom>
              <a:grpFill/>
              <a:ln w="6350" cap="flat" cmpd="sng" algn="ctr">
                <a:solidFill>
                  <a:schemeClr val="bg1">
                    <a:lumMod val="8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0000"/>
                  </a:lnSpc>
                  <a:spcAft>
                    <a:spcPct val="0"/>
                  </a:spcAft>
                  <a:buClr>
                    <a:schemeClr val="accent2"/>
                  </a:buClr>
                  <a:buSzPct val="90000"/>
                </a:pPr>
                <a:endParaRPr lang="zh-CN" altLang="en-US" b="1" dirty="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63" name="等腰三角形 62">
                <a:extLst>
                  <a:ext uri="{FF2B5EF4-FFF2-40B4-BE49-F238E27FC236}">
                    <a16:creationId xmlns:a16="http://schemas.microsoft.com/office/drawing/2014/main" id="{70653DFD-20CB-D3B7-F1E4-EA99532B3D96}"/>
                  </a:ext>
                </a:extLst>
              </p:cNvPr>
              <p:cNvSpPr/>
              <p:nvPr/>
            </p:nvSpPr>
            <p:spPr bwMode="gray">
              <a:xfrm rot="5400000">
                <a:off x="6359235" y="3042457"/>
                <a:ext cx="515389" cy="216131"/>
              </a:xfrm>
              <a:prstGeom prst="triangle">
                <a:avLst/>
              </a:prstGeom>
              <a:grpFill/>
              <a:ln w="6350" cap="flat" cmpd="sng" algn="ctr">
                <a:solidFill>
                  <a:schemeClr val="bg1">
                    <a:lumMod val="8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0000"/>
                  </a:lnSpc>
                  <a:spcAft>
                    <a:spcPct val="0"/>
                  </a:spcAft>
                  <a:buClr>
                    <a:schemeClr val="accent2"/>
                  </a:buClr>
                  <a:buSzPct val="90000"/>
                </a:pPr>
                <a:endParaRPr lang="zh-CN" altLang="en-US" b="1" dirty="0">
                  <a:solidFill>
                    <a:schemeClr val="accent1"/>
                  </a:solidFill>
                  <a:latin typeface="+mj-lt"/>
                </a:endParaRPr>
              </a:p>
            </p:txBody>
          </p:sp>
        </p:grpSp>
        <p:sp>
          <p:nvSpPr>
            <p:cNvPr id="61" name="等腰三角形 60">
              <a:extLst>
                <a:ext uri="{FF2B5EF4-FFF2-40B4-BE49-F238E27FC236}">
                  <a16:creationId xmlns:a16="http://schemas.microsoft.com/office/drawing/2014/main" id="{3ABA31FB-E449-6DFB-7690-A6CD237328B9}"/>
                </a:ext>
              </a:extLst>
            </p:cNvPr>
            <p:cNvSpPr/>
            <p:nvPr/>
          </p:nvSpPr>
          <p:spPr bwMode="gray">
            <a:xfrm rot="5400000">
              <a:off x="6434048" y="3042456"/>
              <a:ext cx="515389" cy="216131"/>
            </a:xfrm>
            <a:prstGeom prst="triangle">
              <a:avLst/>
            </a:prstGeom>
            <a:grpFill/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448" name="组合 447">
            <a:extLst>
              <a:ext uri="{FF2B5EF4-FFF2-40B4-BE49-F238E27FC236}">
                <a16:creationId xmlns:a16="http://schemas.microsoft.com/office/drawing/2014/main" id="{A00AA153-BEC8-EEB4-954A-921DA18968D3}"/>
              </a:ext>
            </a:extLst>
          </p:cNvPr>
          <p:cNvGrpSpPr/>
          <p:nvPr/>
        </p:nvGrpSpPr>
        <p:grpSpPr>
          <a:xfrm>
            <a:off x="6389582" y="5170060"/>
            <a:ext cx="544320" cy="351757"/>
            <a:chOff x="6434051" y="2892827"/>
            <a:chExt cx="365757" cy="515391"/>
          </a:xfrm>
          <a:solidFill>
            <a:schemeClr val="bg1">
              <a:lumMod val="50000"/>
            </a:schemeClr>
          </a:solidFill>
        </p:grpSpPr>
        <p:grpSp>
          <p:nvGrpSpPr>
            <p:cNvPr id="449" name="组合 448">
              <a:extLst>
                <a:ext uri="{FF2B5EF4-FFF2-40B4-BE49-F238E27FC236}">
                  <a16:creationId xmlns:a16="http://schemas.microsoft.com/office/drawing/2014/main" id="{69866061-C4AE-25A7-C15A-469C36D9547A}"/>
                </a:ext>
              </a:extLst>
            </p:cNvPr>
            <p:cNvGrpSpPr/>
            <p:nvPr/>
          </p:nvGrpSpPr>
          <p:grpSpPr>
            <a:xfrm>
              <a:off x="6434051" y="2892828"/>
              <a:ext cx="290944" cy="515390"/>
              <a:chOff x="6434051" y="2892828"/>
              <a:chExt cx="290944" cy="515390"/>
            </a:xfrm>
            <a:grpFill/>
          </p:grpSpPr>
          <p:sp>
            <p:nvSpPr>
              <p:cNvPr id="451" name="等腰三角形 450">
                <a:extLst>
                  <a:ext uri="{FF2B5EF4-FFF2-40B4-BE49-F238E27FC236}">
                    <a16:creationId xmlns:a16="http://schemas.microsoft.com/office/drawing/2014/main" id="{A0F5D3B7-5B9C-4CD7-1216-782553F6CDE8}"/>
                  </a:ext>
                </a:extLst>
              </p:cNvPr>
              <p:cNvSpPr/>
              <p:nvPr/>
            </p:nvSpPr>
            <p:spPr bwMode="gray">
              <a:xfrm rot="5400000">
                <a:off x="6284422" y="3042458"/>
                <a:ext cx="515389" cy="216131"/>
              </a:xfrm>
              <a:prstGeom prst="triangle">
                <a:avLst/>
              </a:prstGeom>
              <a:grpFill/>
              <a:ln w="6350" cap="flat" cmpd="sng" algn="ctr">
                <a:solidFill>
                  <a:schemeClr val="bg1">
                    <a:lumMod val="8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0000"/>
                  </a:lnSpc>
                  <a:spcAft>
                    <a:spcPct val="0"/>
                  </a:spcAft>
                  <a:buClr>
                    <a:schemeClr val="accent2"/>
                  </a:buClr>
                  <a:buSzPct val="90000"/>
                </a:pPr>
                <a:endParaRPr lang="zh-CN" altLang="en-US" b="1" dirty="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452" name="等腰三角形 451">
                <a:extLst>
                  <a:ext uri="{FF2B5EF4-FFF2-40B4-BE49-F238E27FC236}">
                    <a16:creationId xmlns:a16="http://schemas.microsoft.com/office/drawing/2014/main" id="{5DFAC632-5E7A-BF97-5FF5-D6FAB80C2062}"/>
                  </a:ext>
                </a:extLst>
              </p:cNvPr>
              <p:cNvSpPr/>
              <p:nvPr/>
            </p:nvSpPr>
            <p:spPr bwMode="gray">
              <a:xfrm rot="5400000">
                <a:off x="6359235" y="3042457"/>
                <a:ext cx="515389" cy="216131"/>
              </a:xfrm>
              <a:prstGeom prst="triangle">
                <a:avLst/>
              </a:prstGeom>
              <a:grpFill/>
              <a:ln w="6350" cap="flat" cmpd="sng" algn="ctr">
                <a:solidFill>
                  <a:schemeClr val="bg1">
                    <a:lumMod val="8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0000"/>
                  </a:lnSpc>
                  <a:spcAft>
                    <a:spcPct val="0"/>
                  </a:spcAft>
                  <a:buClr>
                    <a:schemeClr val="accent2"/>
                  </a:buClr>
                  <a:buSzPct val="90000"/>
                </a:pPr>
                <a:endParaRPr lang="zh-CN" altLang="en-US" b="1" dirty="0">
                  <a:solidFill>
                    <a:schemeClr val="accent1"/>
                  </a:solidFill>
                  <a:latin typeface="+mj-lt"/>
                </a:endParaRPr>
              </a:p>
            </p:txBody>
          </p:sp>
        </p:grpSp>
        <p:sp>
          <p:nvSpPr>
            <p:cNvPr id="450" name="等腰三角形 449">
              <a:extLst>
                <a:ext uri="{FF2B5EF4-FFF2-40B4-BE49-F238E27FC236}">
                  <a16:creationId xmlns:a16="http://schemas.microsoft.com/office/drawing/2014/main" id="{87DE2EB9-C00F-931B-D009-7BBA326AD9C0}"/>
                </a:ext>
              </a:extLst>
            </p:cNvPr>
            <p:cNvSpPr/>
            <p:nvPr/>
          </p:nvSpPr>
          <p:spPr bwMode="gray">
            <a:xfrm rot="5400000">
              <a:off x="6434048" y="3042456"/>
              <a:ext cx="515389" cy="216131"/>
            </a:xfrm>
            <a:prstGeom prst="triangle">
              <a:avLst/>
            </a:prstGeom>
            <a:grpFill/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cxnSp>
        <p:nvCxnSpPr>
          <p:cNvPr id="455" name="直接连接符 454">
            <a:extLst>
              <a:ext uri="{FF2B5EF4-FFF2-40B4-BE49-F238E27FC236}">
                <a16:creationId xmlns:a16="http://schemas.microsoft.com/office/drawing/2014/main" id="{4D3BB9F4-B4F0-F623-11F8-110F0A5F38E4}"/>
              </a:ext>
            </a:extLst>
          </p:cNvPr>
          <p:cNvCxnSpPr>
            <a:cxnSpLocks/>
            <a:stCxn id="61" idx="0"/>
            <a:endCxn id="50" idx="1"/>
          </p:cNvCxnSpPr>
          <p:nvPr/>
        </p:nvCxnSpPr>
        <p:spPr bwMode="gray">
          <a:xfrm flipV="1">
            <a:off x="6937920" y="4192075"/>
            <a:ext cx="921512" cy="2232"/>
          </a:xfrm>
          <a:prstGeom prst="line">
            <a:avLst/>
          </a:prstGeom>
          <a:noFill/>
          <a:ln w="6350" cap="rnd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/>
            <a:tailEnd type="diamond"/>
          </a:ln>
          <a:effectLst/>
        </p:spPr>
      </p:cxnSp>
      <p:cxnSp>
        <p:nvCxnSpPr>
          <p:cNvPr id="458" name="直接连接符 457">
            <a:extLst>
              <a:ext uri="{FF2B5EF4-FFF2-40B4-BE49-F238E27FC236}">
                <a16:creationId xmlns:a16="http://schemas.microsoft.com/office/drawing/2014/main" id="{908AF779-346A-389A-377A-F414C87AA468}"/>
              </a:ext>
            </a:extLst>
          </p:cNvPr>
          <p:cNvCxnSpPr>
            <a:cxnSpLocks/>
            <a:stCxn id="450" idx="0"/>
            <a:endCxn id="51" idx="1"/>
          </p:cNvCxnSpPr>
          <p:nvPr/>
        </p:nvCxnSpPr>
        <p:spPr bwMode="gray">
          <a:xfrm>
            <a:off x="6933902" y="5345938"/>
            <a:ext cx="925530" cy="1"/>
          </a:xfrm>
          <a:prstGeom prst="line">
            <a:avLst/>
          </a:prstGeom>
          <a:noFill/>
          <a:ln w="6350" cap="rnd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/>
            <a:tailEnd type="diamond"/>
          </a:ln>
          <a:effectLst/>
        </p:spPr>
      </p:cxnSp>
      <p:cxnSp>
        <p:nvCxnSpPr>
          <p:cNvPr id="454" name="直接连接符 453">
            <a:extLst>
              <a:ext uri="{FF2B5EF4-FFF2-40B4-BE49-F238E27FC236}">
                <a16:creationId xmlns:a16="http://schemas.microsoft.com/office/drawing/2014/main" id="{1C6FB3DC-FBF4-9DA7-BD2F-313D4FBAED47}"/>
              </a:ext>
            </a:extLst>
          </p:cNvPr>
          <p:cNvCxnSpPr>
            <a:cxnSpLocks/>
            <a:stCxn id="56" idx="0"/>
            <a:endCxn id="49" idx="1"/>
          </p:cNvCxnSpPr>
          <p:nvPr/>
        </p:nvCxnSpPr>
        <p:spPr bwMode="gray">
          <a:xfrm>
            <a:off x="6933902" y="3038210"/>
            <a:ext cx="925530" cy="1"/>
          </a:xfrm>
          <a:prstGeom prst="line">
            <a:avLst/>
          </a:prstGeom>
          <a:noFill/>
          <a:ln w="6350" cap="rnd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/>
            <a:tailEnd type="diamond"/>
          </a:ln>
          <a:effectLst/>
        </p:spPr>
      </p:cxnSp>
      <p:sp>
        <p:nvSpPr>
          <p:cNvPr id="464" name="文本框 463">
            <a:extLst>
              <a:ext uri="{FF2B5EF4-FFF2-40B4-BE49-F238E27FC236}">
                <a16:creationId xmlns:a16="http://schemas.microsoft.com/office/drawing/2014/main" id="{D9F0D6E3-36AF-09D8-4DC6-937B8DED4AF6}"/>
              </a:ext>
            </a:extLst>
          </p:cNvPr>
          <p:cNvSpPr txBox="1"/>
          <p:nvPr/>
        </p:nvSpPr>
        <p:spPr bwMode="gray">
          <a:xfrm>
            <a:off x="7040644" y="2819035"/>
            <a:ext cx="633506" cy="240621"/>
          </a:xfrm>
          <a:prstGeom prst="rect">
            <a:avLst/>
          </a:prstGeom>
        </p:spPr>
        <p:txBody>
          <a:bodyPr wrap="non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强效</a:t>
            </a:r>
          </a:p>
        </p:txBody>
      </p:sp>
      <p:sp>
        <p:nvSpPr>
          <p:cNvPr id="465" name="文本框 464">
            <a:extLst>
              <a:ext uri="{FF2B5EF4-FFF2-40B4-BE49-F238E27FC236}">
                <a16:creationId xmlns:a16="http://schemas.microsoft.com/office/drawing/2014/main" id="{28EA07B7-EB96-58CC-767F-F580E28D69C7}"/>
              </a:ext>
            </a:extLst>
          </p:cNvPr>
          <p:cNvSpPr txBox="1"/>
          <p:nvPr/>
        </p:nvSpPr>
        <p:spPr bwMode="gray">
          <a:xfrm>
            <a:off x="7044407" y="3972696"/>
            <a:ext cx="633506" cy="240621"/>
          </a:xfrm>
          <a:prstGeom prst="rect">
            <a:avLst/>
          </a:prstGeom>
        </p:spPr>
        <p:txBody>
          <a:bodyPr wrap="non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安全</a:t>
            </a:r>
          </a:p>
        </p:txBody>
      </p:sp>
      <p:sp>
        <p:nvSpPr>
          <p:cNvPr id="466" name="文本框 465">
            <a:extLst>
              <a:ext uri="{FF2B5EF4-FFF2-40B4-BE49-F238E27FC236}">
                <a16:creationId xmlns:a16="http://schemas.microsoft.com/office/drawing/2014/main" id="{F14E42C3-80ED-941B-2AA3-4EBCE37E96BF}"/>
              </a:ext>
            </a:extLst>
          </p:cNvPr>
          <p:cNvSpPr txBox="1"/>
          <p:nvPr/>
        </p:nvSpPr>
        <p:spPr bwMode="gray">
          <a:xfrm>
            <a:off x="7037713" y="5126357"/>
            <a:ext cx="633506" cy="240621"/>
          </a:xfrm>
          <a:prstGeom prst="rect">
            <a:avLst/>
          </a:prstGeom>
        </p:spPr>
        <p:txBody>
          <a:bodyPr wrap="non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便捷</a:t>
            </a: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EA8569F5-D80C-786E-AFAC-68D7E22249E1}"/>
              </a:ext>
            </a:extLst>
          </p:cNvPr>
          <p:cNvSpPr/>
          <p:nvPr/>
        </p:nvSpPr>
        <p:spPr bwMode="gray">
          <a:xfrm>
            <a:off x="2643033" y="3845789"/>
            <a:ext cx="880880" cy="301014"/>
          </a:xfrm>
          <a:prstGeom prst="ellipse">
            <a:avLst/>
          </a:prstGeom>
          <a:solidFill>
            <a:schemeClr val="bg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300" b="1" dirty="0">
                <a:latin typeface="+mj-lt"/>
              </a:rPr>
              <a:t>FX</a:t>
            </a:r>
            <a:endParaRPr lang="zh-CN" altLang="en-US" sz="1300" b="1" dirty="0">
              <a:latin typeface="+mj-lt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5E552EA3-E0AA-1766-6F1C-152444A1B538}"/>
              </a:ext>
            </a:extLst>
          </p:cNvPr>
          <p:cNvSpPr/>
          <p:nvPr/>
        </p:nvSpPr>
        <p:spPr bwMode="gray">
          <a:xfrm>
            <a:off x="3667601" y="3143285"/>
            <a:ext cx="880880" cy="301014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300" b="1" dirty="0">
                <a:solidFill>
                  <a:sysClr val="windowText" lastClr="000000"/>
                </a:solidFill>
                <a:latin typeface="+mj-lt"/>
              </a:rPr>
              <a:t>TFPI</a:t>
            </a:r>
            <a:endParaRPr lang="zh-CN" altLang="en-US" sz="1300" b="1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C9AC5584-F417-22D0-C1C0-19DFEE39A0F8}"/>
              </a:ext>
            </a:extLst>
          </p:cNvPr>
          <p:cNvSpPr/>
          <p:nvPr/>
        </p:nvSpPr>
        <p:spPr bwMode="gray">
          <a:xfrm>
            <a:off x="1618464" y="3143285"/>
            <a:ext cx="880880" cy="3010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200" b="1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FVIII, FIX</a:t>
            </a:r>
            <a:endParaRPr lang="zh-CN" altLang="en-US" sz="12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59D21600-E35C-589C-F78B-F006AB13AD5B}"/>
              </a:ext>
            </a:extLst>
          </p:cNvPr>
          <p:cNvCxnSpPr>
            <a:cxnSpLocks/>
            <a:stCxn id="8" idx="4"/>
            <a:endCxn id="7" idx="7"/>
          </p:cNvCxnSpPr>
          <p:nvPr/>
        </p:nvCxnSpPr>
        <p:spPr bwMode="gray">
          <a:xfrm flipH="1">
            <a:off x="3394911" y="3444299"/>
            <a:ext cx="713130" cy="445572"/>
          </a:xfrm>
          <a:prstGeom prst="straightConnector1">
            <a:avLst/>
          </a:prstGeom>
          <a:noFill/>
          <a:ln w="12700" cap="rnd">
            <a:solidFill>
              <a:schemeClr val="accent1"/>
            </a:solidFill>
            <a:prstDash val="solid"/>
            <a:round/>
            <a:headEnd/>
            <a:tailEnd type="triangle"/>
          </a:ln>
          <a:effectLst/>
        </p:spPr>
      </p:cxnSp>
      <p:sp>
        <p:nvSpPr>
          <p:cNvPr id="15" name="椭圆 14">
            <a:extLst>
              <a:ext uri="{FF2B5EF4-FFF2-40B4-BE49-F238E27FC236}">
                <a16:creationId xmlns:a16="http://schemas.microsoft.com/office/drawing/2014/main" id="{D616B1AC-7580-689B-96F3-33510D436BC2}"/>
              </a:ext>
            </a:extLst>
          </p:cNvPr>
          <p:cNvSpPr/>
          <p:nvPr/>
        </p:nvSpPr>
        <p:spPr bwMode="gray">
          <a:xfrm>
            <a:off x="1618464" y="4390353"/>
            <a:ext cx="880880" cy="301014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凝血酶原</a:t>
            </a: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8168A84B-C570-985A-2DF4-FD4870F6A603}"/>
              </a:ext>
            </a:extLst>
          </p:cNvPr>
          <p:cNvSpPr/>
          <p:nvPr/>
        </p:nvSpPr>
        <p:spPr bwMode="gray">
          <a:xfrm>
            <a:off x="3667601" y="4390353"/>
            <a:ext cx="880880" cy="301014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凝血酶</a:t>
            </a: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82ABC0AF-385E-040D-D737-81A7E06FD642}"/>
              </a:ext>
            </a:extLst>
          </p:cNvPr>
          <p:cNvSpPr/>
          <p:nvPr/>
        </p:nvSpPr>
        <p:spPr bwMode="gray">
          <a:xfrm>
            <a:off x="2410089" y="4876726"/>
            <a:ext cx="1346767" cy="301014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红细胞</a:t>
            </a: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血小板</a:t>
            </a:r>
          </a:p>
        </p:txBody>
      </p: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6ABD4E0A-8FF6-36A1-1C95-F39801C48828}"/>
              </a:ext>
            </a:extLst>
          </p:cNvPr>
          <p:cNvCxnSpPr>
            <a:cxnSpLocks/>
            <a:stCxn id="7" idx="4"/>
            <a:endCxn id="15" idx="0"/>
          </p:cNvCxnSpPr>
          <p:nvPr/>
        </p:nvCxnSpPr>
        <p:spPr bwMode="gray">
          <a:xfrm flipH="1">
            <a:off x="2058904" y="4146803"/>
            <a:ext cx="1024569" cy="243550"/>
          </a:xfrm>
          <a:prstGeom prst="straightConnector1">
            <a:avLst/>
          </a:prstGeom>
          <a:noFill/>
          <a:ln w="12700" cap="rnd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/>
            <a:tailEnd type="triangle"/>
          </a:ln>
          <a:effectLst/>
        </p:spPr>
      </p:cxn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31903161-985B-688D-0641-BFC03E1AD2AF}"/>
              </a:ext>
            </a:extLst>
          </p:cNvPr>
          <p:cNvCxnSpPr>
            <a:cxnSpLocks/>
            <a:stCxn id="15" idx="6"/>
            <a:endCxn id="18" idx="2"/>
          </p:cNvCxnSpPr>
          <p:nvPr/>
        </p:nvCxnSpPr>
        <p:spPr bwMode="gray">
          <a:xfrm>
            <a:off x="2499344" y="4540860"/>
            <a:ext cx="1168257" cy="0"/>
          </a:xfrm>
          <a:prstGeom prst="straightConnector1">
            <a:avLst/>
          </a:prstGeom>
          <a:noFill/>
          <a:ln w="12700" cap="rnd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/>
            <a:tailEnd type="triangle"/>
          </a:ln>
          <a:effectLst/>
        </p:spPr>
      </p:cxnSp>
      <p:cxnSp>
        <p:nvCxnSpPr>
          <p:cNvPr id="28" name="直接箭头连接符 27">
            <a:extLst>
              <a:ext uri="{FF2B5EF4-FFF2-40B4-BE49-F238E27FC236}">
                <a16:creationId xmlns:a16="http://schemas.microsoft.com/office/drawing/2014/main" id="{C788A9DC-3A3C-3778-987E-F94BFF0D256D}"/>
              </a:ext>
            </a:extLst>
          </p:cNvPr>
          <p:cNvCxnSpPr>
            <a:cxnSpLocks/>
            <a:stCxn id="18" idx="4"/>
            <a:endCxn id="19" idx="0"/>
          </p:cNvCxnSpPr>
          <p:nvPr/>
        </p:nvCxnSpPr>
        <p:spPr bwMode="gray">
          <a:xfrm flipH="1">
            <a:off x="3083473" y="4691367"/>
            <a:ext cx="1024568" cy="185359"/>
          </a:xfrm>
          <a:prstGeom prst="straightConnector1">
            <a:avLst/>
          </a:prstGeom>
          <a:noFill/>
          <a:ln w="12700" cap="rnd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/>
            <a:tailEnd type="triangle"/>
          </a:ln>
          <a:effectLst/>
        </p:spPr>
      </p:cxnSp>
      <p:cxnSp>
        <p:nvCxnSpPr>
          <p:cNvPr id="33" name="直接箭头连接符 32">
            <a:extLst>
              <a:ext uri="{FF2B5EF4-FFF2-40B4-BE49-F238E27FC236}">
                <a16:creationId xmlns:a16="http://schemas.microsoft.com/office/drawing/2014/main" id="{0A772382-5375-470E-9325-7193AAC53205}"/>
              </a:ext>
            </a:extLst>
          </p:cNvPr>
          <p:cNvCxnSpPr>
            <a:cxnSpLocks/>
            <a:stCxn id="11" idx="4"/>
            <a:endCxn id="7" idx="1"/>
          </p:cNvCxnSpPr>
          <p:nvPr/>
        </p:nvCxnSpPr>
        <p:spPr bwMode="gray">
          <a:xfrm>
            <a:off x="2058904" y="3444299"/>
            <a:ext cx="713131" cy="445572"/>
          </a:xfrm>
          <a:prstGeom prst="straightConnector1">
            <a:avLst/>
          </a:prstGeom>
          <a:noFill/>
          <a:ln w="63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 type="triangle"/>
          </a:ln>
          <a:effectLst/>
        </p:spPr>
      </p:cxnSp>
      <p:sp>
        <p:nvSpPr>
          <p:cNvPr id="36" name="文本框 35">
            <a:extLst>
              <a:ext uri="{FF2B5EF4-FFF2-40B4-BE49-F238E27FC236}">
                <a16:creationId xmlns:a16="http://schemas.microsoft.com/office/drawing/2014/main" id="{6AEF9964-A33D-D06E-7BBD-51662576B31A}"/>
              </a:ext>
            </a:extLst>
          </p:cNvPr>
          <p:cNvSpPr txBox="1"/>
          <p:nvPr/>
        </p:nvSpPr>
        <p:spPr bwMode="gray">
          <a:xfrm>
            <a:off x="926184" y="3065939"/>
            <a:ext cx="639129" cy="420283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ctr"/>
            <a:r>
              <a:rPr lang="zh-CN" altLang="en-US" sz="1100" b="1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因子药物</a:t>
            </a:r>
            <a:endParaRPr lang="en-US" altLang="zh-CN" sz="1100" b="1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100" b="1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凝血路径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7D8D64CA-E306-D9DF-8477-38A6BB60989B}"/>
              </a:ext>
            </a:extLst>
          </p:cNvPr>
          <p:cNvSpPr txBox="1"/>
          <p:nvPr/>
        </p:nvSpPr>
        <p:spPr bwMode="gray">
          <a:xfrm>
            <a:off x="4576150" y="4330718"/>
            <a:ext cx="639129" cy="420283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r>
              <a:rPr lang="zh-CN" altLang="en-US" sz="1100" b="1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因子</a:t>
            </a:r>
            <a:endParaRPr lang="en-US" altLang="zh-CN" sz="1100" b="1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100" b="1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凝血路径（抑制</a:t>
            </a:r>
            <a:r>
              <a:rPr lang="en-US" altLang="zh-CN" sz="1100" b="1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T</a:t>
            </a:r>
            <a:r>
              <a:rPr lang="zh-CN" altLang="en-US" sz="1100" b="1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756A63C6-EF3B-CBE2-7354-15DB9BE8AECE}"/>
              </a:ext>
            </a:extLst>
          </p:cNvPr>
          <p:cNvGrpSpPr/>
          <p:nvPr/>
        </p:nvGrpSpPr>
        <p:grpSpPr>
          <a:xfrm>
            <a:off x="3606694" y="2888965"/>
            <a:ext cx="2385465" cy="986177"/>
            <a:chOff x="3606694" y="3094705"/>
            <a:chExt cx="2385465" cy="986177"/>
          </a:xfrm>
        </p:grpSpPr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361A2761-AD2F-F47B-7706-DA936F400F40}"/>
                </a:ext>
              </a:extLst>
            </p:cNvPr>
            <p:cNvSpPr txBox="1"/>
            <p:nvPr/>
          </p:nvSpPr>
          <p:spPr bwMode="gray">
            <a:xfrm>
              <a:off x="3943430" y="3094705"/>
              <a:ext cx="1965434" cy="250243"/>
            </a:xfrm>
            <a:prstGeom prst="rect">
              <a:avLst/>
            </a:prstGeom>
          </p:spPr>
          <p:txBody>
            <a:bodyPr wrap="none" lIns="45720" tIns="45720" rIns="45720" bIns="45720" rtlCol="0">
              <a:noAutofit/>
            </a:bodyPr>
            <a:lstStyle/>
            <a:p>
              <a:r>
                <a:rPr lang="zh-CN" altLang="en-US" sz="1100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非因子凝血路径（抑制</a:t>
              </a:r>
              <a:r>
                <a:rPr lang="en-US" altLang="zh-CN" sz="1100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FPI</a:t>
              </a:r>
              <a:r>
                <a:rPr lang="zh-CN" altLang="en-US" sz="1100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</a:p>
          </p:txBody>
        </p: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A0635BCB-FF15-C4D0-7BCC-8E77424A3501}"/>
                </a:ext>
              </a:extLst>
            </p:cNvPr>
            <p:cNvSpPr/>
            <p:nvPr/>
          </p:nvSpPr>
          <p:spPr bwMode="gray">
            <a:xfrm>
              <a:off x="3606694" y="3106042"/>
              <a:ext cx="2385465" cy="974840"/>
            </a:xfrm>
            <a:prstGeom prst="rect">
              <a:avLst/>
            </a:prstGeom>
            <a:noFill/>
            <a:ln w="12700" cap="flat" cmpd="sng" algn="ctr">
              <a:solidFill>
                <a:schemeClr val="accent1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pic>
        <p:nvPicPr>
          <p:cNvPr id="24" name="图片 23">
            <a:extLst>
              <a:ext uri="{FF2B5EF4-FFF2-40B4-BE49-F238E27FC236}">
                <a16:creationId xmlns:a16="http://schemas.microsoft.com/office/drawing/2014/main" id="{C741B703-9A8F-E6E2-AF63-155B6069F0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11297" y="3460065"/>
            <a:ext cx="384082" cy="429806"/>
          </a:xfrm>
          <a:prstGeom prst="rect">
            <a:avLst/>
          </a:prstGeom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9C42CB03-B4DD-7C85-BF3F-EA844567BA6B}"/>
              </a:ext>
            </a:extLst>
          </p:cNvPr>
          <p:cNvSpPr txBox="1"/>
          <p:nvPr/>
        </p:nvSpPr>
        <p:spPr bwMode="gray">
          <a:xfrm>
            <a:off x="4137177" y="3579491"/>
            <a:ext cx="1038527" cy="250122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马塔西单抗阻断机制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3843886-CF11-3A5A-CA0D-43FD42A339C1}"/>
              </a:ext>
            </a:extLst>
          </p:cNvPr>
          <p:cNvSpPr txBox="1"/>
          <p:nvPr/>
        </p:nvSpPr>
        <p:spPr bwMode="gray">
          <a:xfrm>
            <a:off x="607175" y="5278136"/>
            <a:ext cx="5542316" cy="7201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42900" indent="-342900" fontAlgn="base">
              <a:lnSpc>
                <a:spcPct val="120000"/>
              </a:lnSpc>
              <a:spcAft>
                <a:spcPct val="0"/>
              </a:spcAft>
              <a:buClr>
                <a:schemeClr val="tx1"/>
              </a:buClr>
              <a:buSzPct val="90000"/>
              <a:buFont typeface="+mj-ea"/>
              <a:buAutoNum type="circleNumDbPlain"/>
            </a:pP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TFPI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抑制凝血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fontAlgn="base">
              <a:spcBef>
                <a:spcPts val="1200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+mj-ea"/>
              <a:buAutoNum type="circleNumDbPlain"/>
            </a:pPr>
            <a:r>
              <a:rPr lang="zh-CN" altLang="en-US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马塔西单抗阻断</a:t>
            </a:r>
            <a:r>
              <a:rPr lang="en-US" altLang="zh-CN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FPI</a:t>
            </a:r>
            <a:r>
              <a:rPr lang="zh-CN" altLang="en-US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凝血抑制作用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BB34D335-8EAC-69FD-96F3-CF64DF3D5499}"/>
              </a:ext>
            </a:extLst>
          </p:cNvPr>
          <p:cNvSpPr/>
          <p:nvPr/>
        </p:nvSpPr>
        <p:spPr bwMode="gray">
          <a:xfrm>
            <a:off x="3630187" y="3177378"/>
            <a:ext cx="216000" cy="21600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300" b="1" dirty="0">
                <a:latin typeface="+mj-lt"/>
              </a:rPr>
              <a:t>1</a:t>
            </a:r>
            <a:endParaRPr lang="zh-CN" altLang="en-US" sz="1300" b="1" dirty="0">
              <a:latin typeface="+mj-lt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2F71E648-BB40-78BC-B6EF-8247B59FE6CC}"/>
              </a:ext>
            </a:extLst>
          </p:cNvPr>
          <p:cNvSpPr/>
          <p:nvPr/>
        </p:nvSpPr>
        <p:spPr bwMode="gray">
          <a:xfrm>
            <a:off x="3943430" y="3601548"/>
            <a:ext cx="216000" cy="21600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300" b="1" dirty="0">
                <a:latin typeface="+mj-lt"/>
              </a:rPr>
              <a:t>2</a:t>
            </a:r>
            <a:endParaRPr lang="zh-CN" altLang="en-US" sz="1300" b="1" dirty="0">
              <a:latin typeface="+mj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F8A7B08-9850-EA45-0F38-248D31A6E311}"/>
              </a:ext>
            </a:extLst>
          </p:cNvPr>
          <p:cNvSpPr txBox="1"/>
          <p:nvPr/>
        </p:nvSpPr>
        <p:spPr bwMode="gray">
          <a:xfrm>
            <a:off x="2160000" y="6336000"/>
            <a:ext cx="8513762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88900" lvl="0" indent="-88900">
              <a:buFont typeface="+mj-lt"/>
              <a:buAutoNum type="arabicPeriod"/>
              <a:defRPr sz="500" kern="100">
                <a:effectLst/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Matino D, et al., Marstacimab prophylaxis in hemophilia A/B without inhibitors: results from the phase 3 BASIS trial. Blood. 2025 Oct 2;146(14):1654-1663.</a:t>
            </a:r>
            <a:endParaRPr lang="zh-CN" altLang="zh-CN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AB5D779-7981-A258-09E3-22DC7A69C75B}"/>
              </a:ext>
            </a:extLst>
          </p:cNvPr>
          <p:cNvSpPr/>
          <p:nvPr/>
        </p:nvSpPr>
        <p:spPr bwMode="gray">
          <a:xfrm>
            <a:off x="347738" y="0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新性</a:t>
            </a:r>
          </a:p>
        </p:txBody>
      </p:sp>
    </p:spTree>
    <p:extLst>
      <p:ext uri="{BB962C8B-B14F-4D97-AF65-F5344CB8AC3E}">
        <p14:creationId xmlns:p14="http://schemas.microsoft.com/office/powerpoint/2010/main" val="18800386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CC3371-BE89-3FED-3C99-0E2A5EA55A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63C7A1C4-821E-AC66-0B8F-E0F21212734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0739891"/>
              </p:ext>
            </p:ext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8" imgW="415" imgH="416" progId="TCLayout.ActiveDocument.1">
                  <p:embed/>
                </p:oleObj>
              </mc:Choice>
              <mc:Fallback>
                <p:oleObj name="think-cell 幻灯片" r:id="rId28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63C7A1C4-821E-AC66-0B8F-E0F2121273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8" name="矩形 567">
            <a:extLst>
              <a:ext uri="{FF2B5EF4-FFF2-40B4-BE49-F238E27FC236}">
                <a16:creationId xmlns:a16="http://schemas.microsoft.com/office/drawing/2014/main" id="{764491B1-1BBE-8B6A-04F3-F6EC4568238D}"/>
              </a:ext>
            </a:extLst>
          </p:cNvPr>
          <p:cNvSpPr/>
          <p:nvPr/>
        </p:nvSpPr>
        <p:spPr bwMode="gray">
          <a:xfrm>
            <a:off x="5692205" y="2833688"/>
            <a:ext cx="2052000" cy="2215278"/>
          </a:xfrm>
          <a:prstGeom prst="rect">
            <a:avLst/>
          </a:prstGeom>
          <a:solidFill>
            <a:srgbClr val="EBF7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马塔西单抗治疗</a:t>
            </a:r>
          </a:p>
        </p:txBody>
      </p:sp>
      <p:sp>
        <p:nvSpPr>
          <p:cNvPr id="565" name="矩形 564">
            <a:extLst>
              <a:ext uri="{FF2B5EF4-FFF2-40B4-BE49-F238E27FC236}">
                <a16:creationId xmlns:a16="http://schemas.microsoft.com/office/drawing/2014/main" id="{23F7BB71-8758-5959-7806-5D852C275E95}"/>
              </a:ext>
            </a:extLst>
          </p:cNvPr>
          <p:cNvSpPr/>
          <p:nvPr/>
        </p:nvSpPr>
        <p:spPr bwMode="gray">
          <a:xfrm>
            <a:off x="4463935" y="2832100"/>
            <a:ext cx="1108914" cy="2215278"/>
          </a:xfrm>
          <a:prstGeom prst="rect">
            <a:avLst/>
          </a:prstGeom>
          <a:solidFill>
            <a:srgbClr val="EBF7FF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因子治疗</a:t>
            </a:r>
            <a:endParaRPr lang="en-US" altLang="zh-CN" sz="12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期对照</a:t>
            </a:r>
            <a:r>
              <a:rPr lang="en-US" altLang="zh-CN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1" name="矩形 480">
            <a:extLst>
              <a:ext uri="{FF2B5EF4-FFF2-40B4-BE49-F238E27FC236}">
                <a16:creationId xmlns:a16="http://schemas.microsoft.com/office/drawing/2014/main" id="{D62B095D-9038-79D5-FCBD-5BAC98A4D931}"/>
              </a:ext>
            </a:extLst>
          </p:cNvPr>
          <p:cNvSpPr/>
          <p:nvPr/>
        </p:nvSpPr>
        <p:spPr bwMode="gray">
          <a:xfrm>
            <a:off x="9524710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马塔西单抗注射液</a:t>
            </a:r>
          </a:p>
        </p:txBody>
      </p:sp>
      <p:sp>
        <p:nvSpPr>
          <p:cNvPr id="9" name="标题 4">
            <a:extLst>
              <a:ext uri="{FF2B5EF4-FFF2-40B4-BE49-F238E27FC236}">
                <a16:creationId xmlns:a16="http://schemas.microsoft.com/office/drawing/2014/main" id="{A538C22E-D46D-F2A2-1EDF-9EE85E6189CA}"/>
              </a:ext>
            </a:extLst>
          </p:cNvPr>
          <p:cNvSpPr txBox="1">
            <a:spLocks/>
          </p:cNvSpPr>
          <p:nvPr/>
        </p:nvSpPr>
        <p:spPr bwMode="gray">
          <a:xfrm>
            <a:off x="446797" y="484632"/>
            <a:ext cx="11309835" cy="74091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面，对比因子类药物，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化出血率从</a:t>
            </a:r>
            <a:r>
              <a:rPr lang="en-US" altLang="zh-CN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降至</a:t>
            </a:r>
            <a:r>
              <a:rPr lang="en-US" altLang="zh-CN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2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长期治疗后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过半患者实现稳定零出血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带来突破性疗效获益，帮助患者恢复正常生活工作能力，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避免或降低残疾风险</a:t>
            </a:r>
            <a:endParaRPr lang="en-US" altLang="zh-CN" sz="22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5EFFC916-3D64-CEAA-7349-17E7FDDB8DEE}"/>
              </a:ext>
            </a:extLst>
          </p:cNvPr>
          <p:cNvGrpSpPr/>
          <p:nvPr/>
        </p:nvGrpSpPr>
        <p:grpSpPr>
          <a:xfrm>
            <a:off x="446799" y="1787525"/>
            <a:ext cx="3456000" cy="3329201"/>
            <a:chOff x="446799" y="1490663"/>
            <a:chExt cx="3784380" cy="3329201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7A1D47D1-174E-FA15-71F3-F2FBF62A243F}"/>
                </a:ext>
              </a:extLst>
            </p:cNvPr>
            <p:cNvSpPr/>
            <p:nvPr/>
          </p:nvSpPr>
          <p:spPr bwMode="gray">
            <a:xfrm>
              <a:off x="446799" y="1765300"/>
              <a:ext cx="3784380" cy="3054564"/>
            </a:xfrm>
            <a:prstGeom prst="rect">
              <a:avLst/>
            </a:prstGeom>
            <a:noFill/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sz="20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1CB636DE-6C44-C82B-AE00-2D848351DFEC}"/>
                </a:ext>
              </a:extLst>
            </p:cNvPr>
            <p:cNvSpPr/>
            <p:nvPr/>
          </p:nvSpPr>
          <p:spPr bwMode="gray">
            <a:xfrm>
              <a:off x="826766" y="1490663"/>
              <a:ext cx="3024446" cy="558292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2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均出血</a:t>
              </a:r>
              <a:endParaRPr lang="en-US" altLang="zh-CN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fontAlgn="base">
                <a:lnSpc>
                  <a:spcPct val="12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从</a:t>
              </a:r>
              <a:r>
                <a:rPr lang="en-US" altLang="zh-CN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0</a:t>
              </a:r>
              <a:r>
                <a:rPr lang="zh-CN" altLang="en-US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次降至</a:t>
              </a:r>
              <a:r>
                <a:rPr lang="en-US" altLang="zh-CN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2</a:t>
              </a:r>
              <a:r>
                <a:rPr lang="zh-CN" altLang="en-US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次</a:t>
              </a:r>
              <a:endParaRPr lang="zh-CN" altLang="en-US" baseline="30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0F48FE8F-6DDB-4C05-1E34-87073E36E309}"/>
              </a:ext>
            </a:extLst>
          </p:cNvPr>
          <p:cNvGrpSpPr/>
          <p:nvPr/>
        </p:nvGrpSpPr>
        <p:grpSpPr>
          <a:xfrm>
            <a:off x="4366412" y="1787525"/>
            <a:ext cx="3456000" cy="3329201"/>
            <a:chOff x="443239" y="1490663"/>
            <a:chExt cx="3784380" cy="3329201"/>
          </a:xfrm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5316B623-94E4-8002-754D-B104B537F70C}"/>
                </a:ext>
              </a:extLst>
            </p:cNvPr>
            <p:cNvSpPr/>
            <p:nvPr/>
          </p:nvSpPr>
          <p:spPr bwMode="gray">
            <a:xfrm>
              <a:off x="443239" y="1765299"/>
              <a:ext cx="3784380" cy="3054565"/>
            </a:xfrm>
            <a:prstGeom prst="rect">
              <a:avLst/>
            </a:prstGeom>
            <a:noFill/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sz="20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D40AC2BD-F89F-9708-2468-378FCB284AEC}"/>
                </a:ext>
              </a:extLst>
            </p:cNvPr>
            <p:cNvSpPr/>
            <p:nvPr/>
          </p:nvSpPr>
          <p:spPr bwMode="gray">
            <a:xfrm>
              <a:off x="823206" y="1490663"/>
              <a:ext cx="3024446" cy="558292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2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超半数患者</a:t>
              </a:r>
              <a:endParaRPr lang="en-US" altLang="zh-CN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fontAlgn="base">
                <a:lnSpc>
                  <a:spcPct val="12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2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稳定持续零出血</a:t>
              </a:r>
              <a:endPara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0098E3F6-09B5-523B-CF2D-1C9396D0D354}"/>
              </a:ext>
            </a:extLst>
          </p:cNvPr>
          <p:cNvGrpSpPr/>
          <p:nvPr/>
        </p:nvGrpSpPr>
        <p:grpSpPr>
          <a:xfrm>
            <a:off x="8286026" y="1782763"/>
            <a:ext cx="3456000" cy="3333964"/>
            <a:chOff x="443239" y="1490663"/>
            <a:chExt cx="3784380" cy="3226637"/>
          </a:xfrm>
        </p:grpSpPr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D86C569-B89F-2EA8-E791-899C5A03126A}"/>
                </a:ext>
              </a:extLst>
            </p:cNvPr>
            <p:cNvSpPr/>
            <p:nvPr/>
          </p:nvSpPr>
          <p:spPr bwMode="gray">
            <a:xfrm>
              <a:off x="443239" y="1765300"/>
              <a:ext cx="3784380" cy="2952000"/>
            </a:xfrm>
            <a:prstGeom prst="rect">
              <a:avLst/>
            </a:prstGeom>
            <a:noFill/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sz="20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65B68596-3E39-692D-3E0A-977FC8603EC5}"/>
                </a:ext>
              </a:extLst>
            </p:cNvPr>
            <p:cNvSpPr/>
            <p:nvPr/>
          </p:nvSpPr>
          <p:spPr bwMode="gray">
            <a:xfrm>
              <a:off x="823206" y="1490663"/>
              <a:ext cx="3024446" cy="558292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2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2400" b="1" dirty="0">
                  <a:solidFill>
                    <a:srgbClr val="0000C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强效保护关节</a:t>
              </a:r>
              <a:endParaRPr lang="en-US" altLang="zh-CN" sz="24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fontAlgn="base">
                <a:lnSpc>
                  <a:spcPct val="12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2400" b="1" dirty="0">
                  <a:solidFill>
                    <a:srgbClr val="0000C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避免残疾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aphicFrame>
        <p:nvGraphicFramePr>
          <p:cNvPr id="34" name="Chart 3">
            <a:extLst>
              <a:ext uri="{FF2B5EF4-FFF2-40B4-BE49-F238E27FC236}">
                <a16:creationId xmlns:a16="http://schemas.microsoft.com/office/drawing/2014/main" id="{B460CCCB-379E-6439-22C3-DFB9C1D6155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8115101"/>
              </p:ext>
            </p:extLst>
          </p:nvPr>
        </p:nvGraphicFramePr>
        <p:xfrm>
          <a:off x="460375" y="2327275"/>
          <a:ext cx="3427413" cy="2851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70AE52B0-CFD7-6CB1-0EC1-62EF0DD6C7A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593850" y="2919413"/>
            <a:ext cx="6223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EBCC87C7-7A6D-D6C7-F064-EA8655DE3E8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130425" y="4452938"/>
            <a:ext cx="6254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050F1092-C356-14DF-6BD9-0A7A91D34D8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173288" y="2916238"/>
            <a:ext cx="0" cy="15398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011D850-56B5-89B4-E330-8D190130E269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41350" y="4645025"/>
            <a:ext cx="1435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DE630B-414D-4DCA-B48D-CF49DFC575BC}" type="datetime'''''''既''''''''往''''因''''子''按''''''''''''''''需''''治''''疗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既往因子按需治疗</a:t>
            </a:fld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9ACA149-DAEE-156A-D890-1C35C86346C5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538413" y="4645025"/>
            <a:ext cx="901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DA0B28-D296-430F-BBA2-4CEB1A562729}" type="datetime'马塔''''''''''''''''''西''''''''''''''''单抗'''''">
              <a:rPr lang="zh-CN" altLang="en-US" sz="1400" b="1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马塔西单抗</a:t>
            </a:fld>
            <a:endParaRPr lang="zh-CN" altLang="en-US" sz="14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8A19F14-9F17-D99D-2C78-DB7CCB2F441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838325" y="3487738"/>
            <a:ext cx="671513" cy="3111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EBA244-124E-4B8D-93D2-3BCCD8B57B9B}" type="datetime'''''''''''-''''''''''''''''''''9''''''''2''''%'''">
              <a:rPr lang="zh-CN" altLang="en-US" sz="16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2%</a:t>
            </a:fld>
            <a:endParaRPr lang="zh-CN" altLang="en-US" sz="1600" b="1" dirty="0"/>
          </a:p>
        </p:txBody>
      </p:sp>
      <p:graphicFrame>
        <p:nvGraphicFramePr>
          <p:cNvPr id="20" name="Chart 3">
            <a:extLst>
              <a:ext uri="{FF2B5EF4-FFF2-40B4-BE49-F238E27FC236}">
                <a16:creationId xmlns:a16="http://schemas.microsoft.com/office/drawing/2014/main" id="{5D71B261-82E4-4688-F3EC-C60FF8B9D200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68497592"/>
              </p:ext>
            </p:extLst>
          </p:nvPr>
        </p:nvGraphicFramePr>
        <p:xfrm>
          <a:off x="4371975" y="3114675"/>
          <a:ext cx="3425825" cy="118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C28951AF-1CD3-F509-B16C-47E6C5E55C94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686300" y="4086225"/>
            <a:ext cx="622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92966F9-4D9E-47E7-95BF-682B73CC2D22}" type="datetime'''''''''''按''''需''''''''''治''''''''疗''''''''''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按需治疗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2A50F92A-AA8B-A240-F379-8EE812C5BDD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835650" y="4086225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3E0D8A-AD88-4678-B494-894A46BD0D89}" type="datetime'''''''''''''''''''''''''''0''-''''''1''8''''''''''月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-18月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06" name="Text Placeholder 2">
            <a:extLst>
              <a:ext uri="{FF2B5EF4-FFF2-40B4-BE49-F238E27FC236}">
                <a16:creationId xmlns:a16="http://schemas.microsoft.com/office/drawing/2014/main" id="{80C703CA-8D1D-B34C-4164-4140E9560D7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867525" y="4086225"/>
            <a:ext cx="606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5CBF821-3A69-4C37-8EBC-5B3863BD1F46}" type="datetime'''''''''1''''''''''''''''''''''''9''''''''''-''3''0''''''''月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-30月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03" name="Text Placeholder 2">
            <a:extLst>
              <a:ext uri="{FF2B5EF4-FFF2-40B4-BE49-F238E27FC236}">
                <a16:creationId xmlns:a16="http://schemas.microsoft.com/office/drawing/2014/main" id="{53BD2B3B-A31B-EB19-5D5C-CECE357350C6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872288" y="3625850"/>
            <a:ext cx="596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50800" tIns="0" rIns="508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2850D3-4EFE-4D2D-B81C-B013B3CEA52A}" type="datetime'0.''0'''''''''''''''''''''''''''''''">
              <a:rPr lang="zh-CN" altLang="en-US" sz="2800" b="1" smtClean="0">
                <a:solidFill>
                  <a:srgbClr val="C00000"/>
                </a:solidFill>
                <a:ea typeface="黑体" panose="02010609060101010101" pitchFamily="49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zh-CN" altLang="en-US" sz="2800" b="1" dirty="0">
              <a:solidFill>
                <a:srgbClr val="C00000"/>
              </a:solidFill>
              <a:ea typeface="黑体" panose="02010609060101010101" pitchFamily="49" charset="-122"/>
            </a:endParaRP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497E119D-B180-1229-4D60-C3845729F8F0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66851041"/>
              </p:ext>
            </p:extLst>
          </p:nvPr>
        </p:nvGraphicFramePr>
        <p:xfrm>
          <a:off x="4371975" y="4210050"/>
          <a:ext cx="3427413" cy="817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546" name="Text Placeholder 2">
            <a:extLst>
              <a:ext uri="{FF2B5EF4-FFF2-40B4-BE49-F238E27FC236}">
                <a16:creationId xmlns:a16="http://schemas.microsoft.com/office/drawing/2014/main" id="{22892DE2-896E-13B0-6B06-64FF49CDB5DF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686300" y="4811713"/>
            <a:ext cx="622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72BCD6-A30A-4215-BF63-3B551F564903}" type="datetime'''''''''''预防''治''''''''疗''''''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预防治疗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47" name="Text Placeholder 2">
            <a:extLst>
              <a:ext uri="{FF2B5EF4-FFF2-40B4-BE49-F238E27FC236}">
                <a16:creationId xmlns:a16="http://schemas.microsoft.com/office/drawing/2014/main" id="{DF1DD6CF-1507-C41D-E81E-5B3CBF72A69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5880100" y="4811713"/>
            <a:ext cx="409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EF4D46-A021-4766-B0DF-78F7F3373B1B}" type="datetime'''0''''''''''''''''''''-''''''''''''''''6''月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-6月</a:t>
            </a:fld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49" name="Text Placeholder 2">
            <a:extLst>
              <a:ext uri="{FF2B5EF4-FFF2-40B4-BE49-F238E27FC236}">
                <a16:creationId xmlns:a16="http://schemas.microsoft.com/office/drawing/2014/main" id="{2E52E7CD-A1BA-6E1E-0A2E-3BBFBD3C4FCF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916738" y="4811713"/>
            <a:ext cx="5127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D3156F7-1871-4BAA-B6FA-2AC81CC3A96F}" type="datetime'7''-''''''3''''''''''''''''0''''''''''''''''''''''''''''月'">
              <a:rPr lang="zh-CN" altLang="en-US" sz="1200" b="1" smtClean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-30月</a:t>
            </a:fld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48" name="Text Placeholder 2">
            <a:extLst>
              <a:ext uri="{FF2B5EF4-FFF2-40B4-BE49-F238E27FC236}">
                <a16:creationId xmlns:a16="http://schemas.microsoft.com/office/drawing/2014/main" id="{F88DC990-BFD4-9432-0FB5-9C31FD1254BD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6873875" y="4351338"/>
            <a:ext cx="5969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50800" tIns="0" rIns="508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479DD5-7F20-4483-AE58-573F80150F5C}" type="datetime'''''''''''''''''''''''''0''''''''''''''''.''''''''''0'''''''">
              <a:rPr lang="zh-CN" altLang="en-US" sz="2800" b="1" smtClean="0">
                <a:solidFill>
                  <a:srgbClr val="C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zh-CN" altLang="en-US" sz="2800" b="1" dirty="0">
              <a:solidFill>
                <a:srgbClr val="C00000"/>
              </a:solidFill>
              <a:ea typeface="黑体" panose="02010609060101010101" pitchFamily="49" charset="-122"/>
            </a:endParaRPr>
          </a:p>
        </p:txBody>
      </p:sp>
      <p:sp>
        <p:nvSpPr>
          <p:cNvPr id="574" name="矩形 573">
            <a:extLst>
              <a:ext uri="{FF2B5EF4-FFF2-40B4-BE49-F238E27FC236}">
                <a16:creationId xmlns:a16="http://schemas.microsoft.com/office/drawing/2014/main" id="{5AD7AB1D-8BDF-1915-2F8A-698BD6A9EA4A}"/>
              </a:ext>
            </a:extLst>
          </p:cNvPr>
          <p:cNvSpPr/>
          <p:nvPr/>
        </p:nvSpPr>
        <p:spPr bwMode="gray">
          <a:xfrm>
            <a:off x="6703409" y="3138488"/>
            <a:ext cx="936000" cy="1909004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45715" rIns="0" bIns="45715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位年化</a:t>
            </a:r>
            <a:endParaRPr lang="en-US" altLang="zh-CN" sz="12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出血率</a:t>
            </a:r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C7D319A5-F1F2-D8E6-FE32-A5696D8D6153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85113827"/>
              </p:ext>
            </p:extLst>
          </p:nvPr>
        </p:nvGraphicFramePr>
        <p:xfrm>
          <a:off x="8339138" y="2327275"/>
          <a:ext cx="3382962" cy="2851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578" name="直接连接符 577">
            <a:extLst>
              <a:ext uri="{FF2B5EF4-FFF2-40B4-BE49-F238E27FC236}">
                <a16:creationId xmlns:a16="http://schemas.microsoft.com/office/drawing/2014/main" id="{0F4DBCAB-48B8-0750-A0E7-3611EA34717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9458325" y="2919413"/>
            <a:ext cx="6143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9" name="直接连接符 578">
            <a:extLst>
              <a:ext uri="{FF2B5EF4-FFF2-40B4-BE49-F238E27FC236}">
                <a16:creationId xmlns:a16="http://schemas.microsoft.com/office/drawing/2014/main" id="{C77F124A-066F-9819-32C2-14BE71244AB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9986963" y="4494213"/>
            <a:ext cx="6175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0" name="直接连接符 579">
            <a:extLst>
              <a:ext uri="{FF2B5EF4-FFF2-40B4-BE49-F238E27FC236}">
                <a16:creationId xmlns:a16="http://schemas.microsoft.com/office/drawing/2014/main" id="{3BBE5866-A705-FBA5-87E5-931CF7625F59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0029825" y="2916238"/>
            <a:ext cx="0" cy="15811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1" name="Text Placeholder 2">
            <a:extLst>
              <a:ext uri="{FF2B5EF4-FFF2-40B4-BE49-F238E27FC236}">
                <a16:creationId xmlns:a16="http://schemas.microsoft.com/office/drawing/2014/main" id="{A7A556CF-7BBE-A789-76D7-6F1CEDE637F2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8509000" y="4645025"/>
            <a:ext cx="1435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8BDDD3-0751-4AE7-B200-E1B718C59009}" type="datetime'''既''''往''''因''''子''''按需''''''''''''''治''''''''''''''''疗'''''"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既往因子按需治疗</a:t>
            </a:fld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82" name="Text Placeholder 2">
            <a:extLst>
              <a:ext uri="{FF2B5EF4-FFF2-40B4-BE49-F238E27FC236}">
                <a16:creationId xmlns:a16="http://schemas.microsoft.com/office/drawing/2014/main" id="{F3CEAC5E-76FA-5E3B-D5ED-98D0978AC8E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0383838" y="4645025"/>
            <a:ext cx="901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7D21767-8410-49CF-A806-BA31EE46F42A}" type="datetime'''''''''马塔''''''''''''''西''''''''''''''''''单''''''''''抗'''">
              <a:rPr lang="zh-CN" altLang="en-US" sz="1400" b="1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马塔西单抗</a:t>
            </a:fld>
            <a:endParaRPr lang="zh-CN" altLang="en-US" sz="14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83" name="Text Placeholder 2">
            <a:extLst>
              <a:ext uri="{FF2B5EF4-FFF2-40B4-BE49-F238E27FC236}">
                <a16:creationId xmlns:a16="http://schemas.microsoft.com/office/drawing/2014/main" id="{ADA0A794-C029-282E-7981-303C0FCBC78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9694863" y="3508375"/>
            <a:ext cx="671513" cy="3111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613F53-E059-4F01-9FFA-1FA38C9AFE99}" type="datetime'''''-''''''''''94''%'''''''''''''''''''''''''''''''''''''''''">
              <a:rPr lang="zh-CN" altLang="en-US" sz="16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4%</a:t>
            </a:fld>
            <a:endParaRPr lang="zh-CN" altLang="en-US" sz="1600" b="1" dirty="0"/>
          </a:p>
        </p:txBody>
      </p:sp>
      <p:sp>
        <p:nvSpPr>
          <p:cNvPr id="597" name="矩形 596">
            <a:extLst>
              <a:ext uri="{FF2B5EF4-FFF2-40B4-BE49-F238E27FC236}">
                <a16:creationId xmlns:a16="http://schemas.microsoft.com/office/drawing/2014/main" id="{AD5A663A-46B0-A946-732E-57ACC4E16DDD}"/>
              </a:ext>
            </a:extLst>
          </p:cNvPr>
          <p:cNvSpPr/>
          <p:nvPr/>
        </p:nvSpPr>
        <p:spPr bwMode="gray">
          <a:xfrm>
            <a:off x="446798" y="5254625"/>
            <a:ext cx="11295227" cy="5370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血友病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指南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强调</a:t>
            </a:r>
            <a:r>
              <a:rPr lang="zh-CN" altLang="en-US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友病治疗已进入非因子规律替代治疗新时代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重型血友病患者需</a:t>
            </a:r>
            <a:r>
              <a:rPr lang="zh-CN" altLang="en-US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尽早接受规律替代治疗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14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0" name="文本框 599">
            <a:extLst>
              <a:ext uri="{FF2B5EF4-FFF2-40B4-BE49-F238E27FC236}">
                <a16:creationId xmlns:a16="http://schemas.microsoft.com/office/drawing/2014/main" id="{BC009543-70F3-E0B2-0C84-71738BFC0B5D}"/>
              </a:ext>
            </a:extLst>
          </p:cNvPr>
          <p:cNvSpPr txBox="1"/>
          <p:nvPr/>
        </p:nvSpPr>
        <p:spPr bwMode="gray">
          <a:xfrm>
            <a:off x="466725" y="2566988"/>
            <a:ext cx="1449359" cy="159944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均经治疗年化出血率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12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1" name="文本框 600">
            <a:extLst>
              <a:ext uri="{FF2B5EF4-FFF2-40B4-BE49-F238E27FC236}">
                <a16:creationId xmlns:a16="http://schemas.microsoft.com/office/drawing/2014/main" id="{AF9C6EB4-CCFD-48A5-79D2-4FD580520CF6}"/>
              </a:ext>
            </a:extLst>
          </p:cNvPr>
          <p:cNvSpPr txBox="1"/>
          <p:nvPr/>
        </p:nvSpPr>
        <p:spPr bwMode="gray">
          <a:xfrm>
            <a:off x="8345318" y="2566988"/>
            <a:ext cx="1449359" cy="159944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位关节出血率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2" name="文本框 601">
            <a:extLst>
              <a:ext uri="{FF2B5EF4-FFF2-40B4-BE49-F238E27FC236}">
                <a16:creationId xmlns:a16="http://schemas.microsoft.com/office/drawing/2014/main" id="{BB6C9B7A-335E-A830-8A2F-ABC868EADCCD}"/>
              </a:ext>
            </a:extLst>
          </p:cNvPr>
          <p:cNvSpPr txBox="1"/>
          <p:nvPr/>
        </p:nvSpPr>
        <p:spPr bwMode="gray">
          <a:xfrm>
            <a:off x="4450799" y="2566988"/>
            <a:ext cx="1449359" cy="159944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位经治疗年化出血率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AF962DC1-48CA-6259-346F-5575129E90B3}"/>
              </a:ext>
            </a:extLst>
          </p:cNvPr>
          <p:cNvSpPr txBox="1"/>
          <p:nvPr/>
        </p:nvSpPr>
        <p:spPr bwMode="gray">
          <a:xfrm>
            <a:off x="2160000" y="6336000"/>
            <a:ext cx="851376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88900" lvl="0" indent="-88900">
              <a:buFont typeface="+mj-lt"/>
              <a:buAutoNum type="arabicPeriod"/>
              <a:defRPr sz="500" kern="100">
                <a:effectLst/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Matino D, et al., Marstacimab prophylaxis in hemophilia A/B without inhibitors: results from the phase 3 BASIS trial. Blood. 2025 Oct 2;146(14):1654-1663.</a:t>
            </a:r>
          </a:p>
          <a:p>
            <a:r>
              <a:rPr lang="en-US" altLang="zh-CN" dirty="0"/>
              <a:t>Matino D, et al., Long-term efficacy of Marstacimab in Adults and Adolescents with Severe Hemophilia A or B without inhibitors who completed the BASIS trial, 33rd Congress of the International Society on Thrombosis and </a:t>
            </a:r>
            <a:r>
              <a:rPr lang="en-US" altLang="zh-CN" dirty="0" err="1"/>
              <a:t>Haemostasis</a:t>
            </a:r>
            <a:r>
              <a:rPr lang="en-US" altLang="zh-CN" dirty="0"/>
              <a:t> (ISTH), June 21-25 2025, Washington DC, USA</a:t>
            </a:r>
          </a:p>
          <a:p>
            <a:r>
              <a:rPr lang="zh-CN" altLang="zh-CN" dirty="0"/>
              <a:t>《血友病治疗中国指南（</a:t>
            </a:r>
            <a:r>
              <a:rPr lang="en-US" altLang="zh-CN" dirty="0"/>
              <a:t>2025</a:t>
            </a:r>
            <a:r>
              <a:rPr lang="zh-CN" altLang="zh-CN" dirty="0"/>
              <a:t>年版）》，中国医学会血液学分会血栓与止血学组，中华血液杂志</a:t>
            </a:r>
            <a:r>
              <a:rPr lang="en-US" altLang="zh-CN" dirty="0"/>
              <a:t>2025</a:t>
            </a:r>
            <a:r>
              <a:rPr lang="zh-CN" altLang="zh-CN" dirty="0"/>
              <a:t>年</a:t>
            </a:r>
            <a:r>
              <a:rPr lang="en-US" altLang="zh-CN" dirty="0"/>
              <a:t>8</a:t>
            </a:r>
            <a:r>
              <a:rPr lang="zh-CN" altLang="zh-CN" dirty="0"/>
              <a:t>月第</a:t>
            </a:r>
            <a:r>
              <a:rPr lang="en-US" altLang="zh-CN" dirty="0"/>
              <a:t>46</a:t>
            </a:r>
            <a:r>
              <a:rPr lang="zh-CN" altLang="zh-CN" dirty="0"/>
              <a:t>卷第</a:t>
            </a:r>
            <a:r>
              <a:rPr lang="en-US" altLang="zh-CN" dirty="0"/>
              <a:t>8</a:t>
            </a:r>
            <a:r>
              <a:rPr lang="zh-CN" altLang="zh-CN" dirty="0"/>
              <a:t>期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37523D4A-4D80-0AFE-6BC1-A193277DF4FE}"/>
              </a:ext>
            </a:extLst>
          </p:cNvPr>
          <p:cNvSpPr/>
          <p:nvPr/>
        </p:nvSpPr>
        <p:spPr bwMode="gray">
          <a:xfrm>
            <a:off x="347738" y="0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</a:p>
        </p:txBody>
      </p:sp>
    </p:spTree>
    <p:extLst>
      <p:ext uri="{BB962C8B-B14F-4D97-AF65-F5344CB8AC3E}">
        <p14:creationId xmlns:p14="http://schemas.microsoft.com/office/powerpoint/2010/main" val="31782016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B71085-EDE2-FF66-EB9A-23DAFF4E0A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0AB815FE-BBE5-E9B9-DF49-5D625B6BD15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2912269"/>
              </p:ext>
            </p:ext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0AB815FE-BBE5-E9B9-DF49-5D625B6BD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" name="矩形 480">
            <a:extLst>
              <a:ext uri="{FF2B5EF4-FFF2-40B4-BE49-F238E27FC236}">
                <a16:creationId xmlns:a16="http://schemas.microsoft.com/office/drawing/2014/main" id="{1CE07A17-9E0C-38EA-E80E-19A342A8564A}"/>
              </a:ext>
            </a:extLst>
          </p:cNvPr>
          <p:cNvSpPr/>
          <p:nvPr/>
        </p:nvSpPr>
        <p:spPr bwMode="gray">
          <a:xfrm>
            <a:off x="9524710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马塔西单抗注射液</a:t>
            </a:r>
          </a:p>
        </p:txBody>
      </p:sp>
      <p:sp>
        <p:nvSpPr>
          <p:cNvPr id="9" name="标题 4">
            <a:extLst>
              <a:ext uri="{FF2B5EF4-FFF2-40B4-BE49-F238E27FC236}">
                <a16:creationId xmlns:a16="http://schemas.microsoft.com/office/drawing/2014/main" id="{609DD841-0591-490A-07E4-5AC89052B9E8}"/>
              </a:ext>
            </a:extLst>
          </p:cNvPr>
          <p:cNvSpPr txBox="1">
            <a:spLocks/>
          </p:cNvSpPr>
          <p:nvPr/>
        </p:nvSpPr>
        <p:spPr bwMode="gray">
          <a:xfrm>
            <a:off x="446797" y="484632"/>
            <a:ext cx="11398839" cy="74091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面，马塔西单抗关键三期研究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发生血栓事件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安全性良好，是三个已获批非因子药物中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无血栓相关黑框警告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药品</a:t>
            </a:r>
            <a:endParaRPr lang="en-US" altLang="zh-CN" sz="2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1D947C6C-CB9E-9160-019D-D11FFA19E6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2219691"/>
              </p:ext>
            </p:extLst>
          </p:nvPr>
        </p:nvGraphicFramePr>
        <p:xfrm>
          <a:off x="446798" y="1653540"/>
          <a:ext cx="11292620" cy="36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7187">
                  <a:extLst>
                    <a:ext uri="{9D8B030D-6E8A-4147-A177-3AD203B41FA5}">
                      <a16:colId xmlns:a16="http://schemas.microsoft.com/office/drawing/2014/main" val="3203681466"/>
                    </a:ext>
                  </a:extLst>
                </a:gridCol>
                <a:gridCol w="2485506">
                  <a:extLst>
                    <a:ext uri="{9D8B030D-6E8A-4147-A177-3AD203B41FA5}">
                      <a16:colId xmlns:a16="http://schemas.microsoft.com/office/drawing/2014/main" val="1983843895"/>
                    </a:ext>
                  </a:extLst>
                </a:gridCol>
                <a:gridCol w="4256116">
                  <a:extLst>
                    <a:ext uri="{9D8B030D-6E8A-4147-A177-3AD203B41FA5}">
                      <a16:colId xmlns:a16="http://schemas.microsoft.com/office/drawing/2014/main" val="3173542724"/>
                    </a:ext>
                  </a:extLst>
                </a:gridCol>
                <a:gridCol w="3243811">
                  <a:extLst>
                    <a:ext uri="{9D8B030D-6E8A-4147-A177-3AD203B41FA5}">
                      <a16:colId xmlns:a16="http://schemas.microsoft.com/office/drawing/2014/main" val="3115116321"/>
                    </a:ext>
                  </a:extLst>
                </a:gridCol>
              </a:tblGrid>
              <a:tr h="635215">
                <a:tc>
                  <a:txBody>
                    <a:bodyPr/>
                    <a:lstStyle/>
                    <a:p>
                      <a:endParaRPr lang="zh-CN" altLang="en-US" sz="140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马塔西单抗</a:t>
                      </a:r>
                      <a:r>
                        <a:rPr lang="en-US" altLang="zh-CN" sz="1800" b="0" baseline="300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  <a:p>
                      <a:pPr algn="ctr"/>
                      <a:r>
                        <a:rPr lang="zh-CN" altLang="en-US" sz="1400" b="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血友病</a:t>
                      </a:r>
                      <a:r>
                        <a:rPr lang="en-US" altLang="zh-CN" sz="1400" b="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B</a:t>
                      </a:r>
                      <a:r>
                        <a:rPr lang="zh-CN" altLang="en-US" sz="1400" b="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zh-CN" altLang="en-US" sz="1400" baseline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芬妥司兰钠</a:t>
                      </a:r>
                      <a:r>
                        <a:rPr lang="en-US" altLang="zh-CN" sz="1800" b="0" baseline="300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  <a:p>
                      <a:pPr marL="0" algn="ctr" defTabSz="914400" rtl="0" eaLnBrk="1" latinLnBrk="0" hangingPunct="1"/>
                      <a:r>
                        <a:rPr lang="zh-CN" altLang="en-US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血友病</a:t>
                      </a:r>
                      <a:r>
                        <a:rPr lang="en-US" altLang="zh-CN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+B</a:t>
                      </a:r>
                      <a:r>
                        <a:rPr lang="zh-CN" altLang="en-US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艾美赛珠单抗</a:t>
                      </a:r>
                      <a:r>
                        <a:rPr lang="en-US" altLang="zh-CN" sz="1800" b="0" baseline="300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  <a:p>
                      <a:pPr marL="0" algn="ctr" defTabSz="914400" rtl="0" eaLnBrk="1" latinLnBrk="0" hangingPunct="1"/>
                      <a:r>
                        <a:rPr lang="zh-CN" altLang="en-US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仅血友病</a:t>
                      </a:r>
                      <a:r>
                        <a:rPr lang="en-US" altLang="zh-CN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</a:t>
                      </a:r>
                      <a:r>
                        <a:rPr lang="zh-CN" altLang="en-US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8910619"/>
                  </a:ext>
                </a:extLst>
              </a:tr>
              <a:tr h="130572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黑框警告</a:t>
                      </a:r>
                    </a:p>
                  </a:txBody>
                  <a:tcPr marL="36000" marR="36000" marT="36000" marB="36000"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zh-CN" altLang="en-US" sz="2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BF7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zh-CN" altLang="en-US" sz="24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  <a:endParaRPr lang="en-US" altLang="zh-CN" sz="2400" b="1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zh-CN" altLang="en-US" sz="18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血栓事件</a:t>
                      </a:r>
                      <a:r>
                        <a:rPr lang="zh-CN" altLang="en-US" sz="18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急性和复发性胆囊疾病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zh-CN" altLang="en-US" sz="24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  <a:endParaRPr lang="en-US" altLang="zh-CN" sz="2400" b="1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zh-CN" altLang="en-US" sz="18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血栓性微血管病</a:t>
                      </a:r>
                      <a:r>
                        <a:rPr lang="zh-CN" altLang="en-US" sz="18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和</a:t>
                      </a:r>
                      <a:r>
                        <a:rPr lang="zh-CN" altLang="en-US" sz="18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血栓栓塞</a:t>
                      </a:r>
                      <a:endParaRPr lang="zh-CN" altLang="en-US" sz="1800" b="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077316"/>
                  </a:ext>
                </a:extLst>
              </a:tr>
              <a:tr h="165906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血栓事件</a:t>
                      </a:r>
                      <a:endParaRPr lang="en-US" altLang="zh-CN" sz="20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20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风险</a:t>
                      </a:r>
                    </a:p>
                  </a:txBody>
                  <a:tcPr marL="36000" marR="36000" marT="36000" marB="36000"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l">
                        <a:lnSpc>
                          <a:spcPct val="130000"/>
                        </a:lnSpc>
                        <a:buClr>
                          <a:schemeClr val="tx1"/>
                        </a:buClr>
                        <a:buSzPct val="7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20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未发生血栓事件 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关键三期研究）</a:t>
                      </a:r>
                      <a:endParaRPr lang="zh-CN" altLang="en-US" sz="14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180000" marB="36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7FF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l">
                        <a:lnSpc>
                          <a:spcPct val="13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抗凝血酶（</a:t>
                      </a:r>
                      <a:r>
                        <a:rPr lang="en-US" altLang="zh-CN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T</a:t>
                      </a:r>
                      <a:r>
                        <a:rPr lang="zh-CN" altLang="en-US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水平低于</a:t>
                      </a:r>
                      <a:r>
                        <a:rPr lang="en-US" altLang="zh-CN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%</a:t>
                      </a:r>
                      <a:r>
                        <a:rPr lang="zh-CN" altLang="en-US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将增加血栓风险</a:t>
                      </a:r>
                      <a:endParaRPr lang="en-US" altLang="zh-CN" sz="1200" b="1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449263" indent="-182563" algn="l">
                        <a:lnSpc>
                          <a:spcPct val="13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zh-CN" altLang="en-US" sz="12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说明书</a:t>
                      </a:r>
                      <a:r>
                        <a:rPr lang="zh-CN" altLang="en-US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显示，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三期临床研究</a:t>
                      </a: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mg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月一次，</a:t>
                      </a:r>
                      <a:r>
                        <a:rPr lang="zh-CN" altLang="en-US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因严重血栓事件未申报获批</a:t>
                      </a:r>
                    </a:p>
                    <a:p>
                      <a:pPr marL="449263" indent="-182563" algn="l">
                        <a:lnSpc>
                          <a:spcPct val="13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zh-CN" altLang="en-US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即便调整给药频率</a:t>
                      </a:r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剂量后将</a:t>
                      </a:r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T</a:t>
                      </a:r>
                      <a:r>
                        <a:rPr lang="zh-CN" altLang="en-US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值保持在</a:t>
                      </a:r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-35%</a:t>
                      </a:r>
                      <a:r>
                        <a:rPr lang="zh-CN" altLang="en-US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三期临床研究中仍有</a:t>
                      </a:r>
                      <a:r>
                        <a:rPr lang="en-US" altLang="zh-CN" sz="12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4%</a:t>
                      </a:r>
                      <a:r>
                        <a:rPr lang="zh-CN" altLang="en-US" sz="12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发生血栓事件</a:t>
                      </a:r>
                    </a:p>
                  </a:txBody>
                  <a:tcPr marL="36000" marR="36000" marT="180000" marB="36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l">
                        <a:lnSpc>
                          <a:spcPct val="13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说明书显示，艾美赛珠单抗治疗期间接受</a:t>
                      </a:r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CC</a:t>
                      </a:r>
                      <a:r>
                        <a:rPr lang="zh-CN" altLang="en-US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将</a:t>
                      </a:r>
                      <a:r>
                        <a:rPr lang="zh-CN" altLang="en-US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加受试者发生血栓性微血管病和血栓栓塞事件的风险</a:t>
                      </a:r>
                      <a:r>
                        <a:rPr lang="zh-CN" altLang="en-US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  <a:endParaRPr lang="en-US" altLang="zh-CN" sz="120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182563" indent="-182563" algn="l">
                        <a:lnSpc>
                          <a:spcPct val="13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在艾美赛珠单抗治疗期间接受至少一次</a:t>
                      </a:r>
                      <a:r>
                        <a:rPr lang="en-US" altLang="zh-CN" sz="1200" dirty="0" err="1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PCC</a:t>
                      </a:r>
                      <a:r>
                        <a:rPr lang="zh-CN" altLang="en-US" sz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的患者中，</a:t>
                      </a:r>
                      <a:r>
                        <a:rPr lang="zh-CN" altLang="en-US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血栓发生率为</a:t>
                      </a:r>
                      <a:r>
                        <a:rPr lang="en-US" altLang="zh-CN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%</a:t>
                      </a:r>
                      <a:r>
                        <a:rPr lang="zh-CN" altLang="en-US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血栓性微血管病发生率</a:t>
                      </a:r>
                      <a:r>
                        <a:rPr lang="en-US" altLang="zh-CN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7%</a:t>
                      </a:r>
                      <a:r>
                        <a:rPr lang="zh-CN" altLang="en-US" sz="1200" b="1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</a:p>
                  </a:txBody>
                  <a:tcPr marL="36000" marR="36000" marT="180000" marB="36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9028586"/>
                  </a:ext>
                </a:extLst>
              </a:tr>
            </a:tbl>
          </a:graphicData>
        </a:graphic>
      </p:graphicFrame>
      <p:sp>
        <p:nvSpPr>
          <p:cNvPr id="8" name="矩形: 圆角 7">
            <a:extLst>
              <a:ext uri="{FF2B5EF4-FFF2-40B4-BE49-F238E27FC236}">
                <a16:creationId xmlns:a16="http://schemas.microsoft.com/office/drawing/2014/main" id="{58D03B21-6BAF-F1EF-DA4B-4DD71CCDD690}"/>
              </a:ext>
            </a:extLst>
          </p:cNvPr>
          <p:cNvSpPr/>
          <p:nvPr/>
        </p:nvSpPr>
        <p:spPr bwMode="gray">
          <a:xfrm>
            <a:off x="446798" y="5358477"/>
            <a:ext cx="1876370" cy="729987"/>
          </a:xfrm>
          <a:prstGeom prst="roundRect">
            <a:avLst>
              <a:gd name="adj" fmla="val 6807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说明书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常见不良反应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EF74DE25-9188-6971-B1EF-0F713A18D135}"/>
              </a:ext>
            </a:extLst>
          </p:cNvPr>
          <p:cNvSpPr/>
          <p:nvPr/>
        </p:nvSpPr>
        <p:spPr bwMode="gray">
          <a:xfrm>
            <a:off x="2381498" y="5355988"/>
            <a:ext cx="9357920" cy="724772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0000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三期临床研究中，既往接受因子按需治疗患者切换至马塔西单抗后，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发生严重治疗相关不良反应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整体治疗相关不良反应为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2.1%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77800" indent="-177800" fontAlgn="base">
              <a:spcAft>
                <a:spcPts val="900"/>
              </a:spcAft>
              <a:buClr>
                <a:srgbClr val="000000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最常见的治疗相关不良反应包含：注射部位不良反应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、头痛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、瘙痒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DB0C0E9-1BA7-EDCA-642F-6CAFF63E2DEF}"/>
              </a:ext>
            </a:extLst>
          </p:cNvPr>
          <p:cNvSpPr txBox="1"/>
          <p:nvPr/>
        </p:nvSpPr>
        <p:spPr bwMode="gray">
          <a:xfrm>
            <a:off x="2160000" y="6336000"/>
            <a:ext cx="851376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88900" lvl="0" indent="-88900">
              <a:buFont typeface="+mj-lt"/>
              <a:buAutoNum type="arabicPeriod"/>
              <a:defRPr sz="500" kern="100">
                <a:effectLst/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Matino D, et al., Marstacimab prophylaxis in hemophilia A/B without inhibitors: results from the phase 3 BASIS trial. Blood. 2025 Oct 2;146(14):1654-1663.</a:t>
            </a:r>
          </a:p>
          <a:p>
            <a:r>
              <a:rPr lang="zh-CN" altLang="en-US" dirty="0"/>
              <a:t>芬妥司兰钠注射液说明书</a:t>
            </a:r>
            <a:endParaRPr lang="en-US" altLang="zh-CN" dirty="0"/>
          </a:p>
          <a:p>
            <a:r>
              <a:rPr lang="zh-CN" altLang="en-US" dirty="0"/>
              <a:t>艾美赛珠单抗注射液说明书</a:t>
            </a:r>
            <a:endParaRPr lang="zh-CN" altLang="zh-CN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BD4D459A-F014-3E69-1FA9-BEA17D03D76D}"/>
              </a:ext>
            </a:extLst>
          </p:cNvPr>
          <p:cNvSpPr/>
          <p:nvPr/>
        </p:nvSpPr>
        <p:spPr bwMode="gray">
          <a:xfrm>
            <a:off x="347738" y="0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性</a:t>
            </a:r>
          </a:p>
        </p:txBody>
      </p:sp>
    </p:spTree>
    <p:extLst>
      <p:ext uri="{BB962C8B-B14F-4D97-AF65-F5344CB8AC3E}">
        <p14:creationId xmlns:p14="http://schemas.microsoft.com/office/powerpoint/2010/main" val="41166234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56DFE6-89A9-3DB1-988B-2CBD55C9C6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6EA5C9D3-F50E-4973-574D-9C3B26D3EB7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8160138"/>
              </p:ext>
            </p:ext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6EA5C9D3-F50E-4973-574D-9C3B26D3E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" name="矩形 480">
            <a:extLst>
              <a:ext uri="{FF2B5EF4-FFF2-40B4-BE49-F238E27FC236}">
                <a16:creationId xmlns:a16="http://schemas.microsoft.com/office/drawing/2014/main" id="{941B48AE-5FDB-894E-BB2D-A347438125D0}"/>
              </a:ext>
            </a:extLst>
          </p:cNvPr>
          <p:cNvSpPr/>
          <p:nvPr/>
        </p:nvSpPr>
        <p:spPr bwMode="gray">
          <a:xfrm>
            <a:off x="9524710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马塔西单抗注射液</a:t>
            </a:r>
          </a:p>
        </p:txBody>
      </p:sp>
      <p:sp>
        <p:nvSpPr>
          <p:cNvPr id="9" name="标题 4">
            <a:extLst>
              <a:ext uri="{FF2B5EF4-FFF2-40B4-BE49-F238E27FC236}">
                <a16:creationId xmlns:a16="http://schemas.microsoft.com/office/drawing/2014/main" id="{B740F899-3B3B-EFF1-41AF-6759D059A55A}"/>
              </a:ext>
            </a:extLst>
          </p:cNvPr>
          <p:cNvSpPr txBox="1">
            <a:spLocks/>
          </p:cNvSpPr>
          <p:nvPr/>
        </p:nvSpPr>
        <p:spPr bwMode="gray">
          <a:xfrm>
            <a:off x="446797" y="484632"/>
            <a:ext cx="11398839" cy="74091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便利性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面，马塔西单抗是</a:t>
            </a:r>
            <a:r>
              <a:rPr lang="zh-CN" altLang="en-US" sz="2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皮下注射、每周一次、固定剂量给药，无需根据公斤体重或抗凝血酶水平调整剂量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患者用药便利，显著优于传统因子类药物的频繁静脉穿刺给药方式</a:t>
            </a:r>
            <a:endParaRPr lang="en-US" altLang="zh-CN" sz="2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D5E98261-FB9E-DB44-95B3-EF35430244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6148486"/>
              </p:ext>
            </p:extLst>
          </p:nvPr>
        </p:nvGraphicFramePr>
        <p:xfrm>
          <a:off x="434899" y="2053213"/>
          <a:ext cx="11319025" cy="4254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3889">
                  <a:extLst>
                    <a:ext uri="{9D8B030D-6E8A-4147-A177-3AD203B41FA5}">
                      <a16:colId xmlns:a16="http://schemas.microsoft.com/office/drawing/2014/main" val="3203681466"/>
                    </a:ext>
                  </a:extLst>
                </a:gridCol>
                <a:gridCol w="2121693">
                  <a:extLst>
                    <a:ext uri="{9D8B030D-6E8A-4147-A177-3AD203B41FA5}">
                      <a16:colId xmlns:a16="http://schemas.microsoft.com/office/drawing/2014/main" val="1983843895"/>
                    </a:ext>
                  </a:extLst>
                </a:gridCol>
                <a:gridCol w="2650332">
                  <a:extLst>
                    <a:ext uri="{9D8B030D-6E8A-4147-A177-3AD203B41FA5}">
                      <a16:colId xmlns:a16="http://schemas.microsoft.com/office/drawing/2014/main" val="4094551853"/>
                    </a:ext>
                  </a:extLst>
                </a:gridCol>
                <a:gridCol w="3586162">
                  <a:extLst>
                    <a:ext uri="{9D8B030D-6E8A-4147-A177-3AD203B41FA5}">
                      <a16:colId xmlns:a16="http://schemas.microsoft.com/office/drawing/2014/main" val="3173542724"/>
                    </a:ext>
                  </a:extLst>
                </a:gridCol>
                <a:gridCol w="1666949">
                  <a:extLst>
                    <a:ext uri="{9D8B030D-6E8A-4147-A177-3AD203B41FA5}">
                      <a16:colId xmlns:a16="http://schemas.microsoft.com/office/drawing/2014/main" val="3115116321"/>
                    </a:ext>
                  </a:extLst>
                </a:gridCol>
              </a:tblGrid>
              <a:tr h="582488">
                <a:tc>
                  <a:txBody>
                    <a:bodyPr/>
                    <a:lstStyle/>
                    <a:p>
                      <a:endParaRPr lang="zh-CN" altLang="en-US" sz="140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马塔西单抗</a:t>
                      </a:r>
                      <a:r>
                        <a:rPr lang="en-US" altLang="zh-CN" sz="1800" b="0" baseline="300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kern="120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血友病</a:t>
                      </a:r>
                      <a:r>
                        <a:rPr lang="en-US" altLang="zh-CN" sz="1400" b="0" kern="120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+B</a:t>
                      </a:r>
                      <a:r>
                        <a:rPr lang="zh-CN" altLang="en-US" sz="1400" b="0" kern="120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传统因子 </a:t>
                      </a:r>
                      <a:r>
                        <a:rPr lang="en-US" altLang="zh-CN" sz="18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</a:t>
                      </a:r>
                      <a:r>
                        <a:rPr lang="zh-CN" altLang="en-US" sz="18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按需治疗</a:t>
                      </a:r>
                      <a:r>
                        <a:rPr lang="en-US" altLang="zh-CN" sz="1800" b="0" baseline="300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kern="120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仅血友病</a:t>
                      </a:r>
                      <a:r>
                        <a:rPr lang="en-US" altLang="zh-CN" sz="1400" b="0" kern="120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</a:t>
                      </a:r>
                      <a:r>
                        <a:rPr lang="zh-CN" altLang="en-US" sz="1400" b="0" kern="120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或</a:t>
                      </a:r>
                      <a:r>
                        <a:rPr lang="en-US" altLang="zh-CN" sz="1400" b="0" kern="120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</a:t>
                      </a:r>
                      <a:r>
                        <a:rPr lang="zh-CN" altLang="en-US" sz="1400" b="0" kern="120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芬妥司兰钠</a:t>
                      </a:r>
                      <a:r>
                        <a:rPr lang="en-US" altLang="zh-CN" sz="1800" b="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血友病</a:t>
                      </a:r>
                      <a:r>
                        <a:rPr lang="en-US" altLang="zh-CN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+B</a:t>
                      </a:r>
                      <a:r>
                        <a:rPr lang="zh-CN" altLang="en-US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艾美赛珠单抗</a:t>
                      </a:r>
                      <a:r>
                        <a:rPr lang="en-US" altLang="zh-CN" sz="1800" b="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仅血友病</a:t>
                      </a:r>
                      <a:r>
                        <a:rPr lang="en-US" altLang="zh-CN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</a:t>
                      </a:r>
                      <a:r>
                        <a:rPr lang="zh-CN" altLang="en-US" sz="1400" b="0" kern="120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8910619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r>
                        <a:rPr lang="zh-CN" altLang="en-US" sz="18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给药方式</a:t>
                      </a:r>
                    </a:p>
                  </a:txBody>
                  <a:tcPr marL="36000" marR="36000" marT="36000" marB="36000"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zh-CN" altLang="en-US" sz="20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皮下注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BF7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静脉注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AEC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zh-CN" altLang="en-US" sz="15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皮下注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zh-CN" altLang="en-US" sz="15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皮下注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077316"/>
                  </a:ext>
                </a:extLst>
              </a:tr>
              <a:tr h="936000">
                <a:tc>
                  <a:txBody>
                    <a:bodyPr/>
                    <a:lstStyle/>
                    <a:p>
                      <a:r>
                        <a:rPr lang="zh-CN" altLang="en-US" sz="18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给药剂量</a:t>
                      </a:r>
                    </a:p>
                  </a:txBody>
                  <a:tcPr marL="36000" marR="36000" marT="36000" marB="36000"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3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20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固定剂量</a:t>
                      </a:r>
                      <a:endParaRPr lang="en-US" altLang="zh-CN" sz="20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indent="0" algn="ctr">
                        <a:lnSpc>
                          <a:spcPct val="13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altLang="zh-CN" sz="20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0mg/</a:t>
                      </a:r>
                      <a:r>
                        <a:rPr lang="zh-CN" altLang="en-US" sz="20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BF7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需根据体重、凝血因子水平</a:t>
                      </a:r>
                      <a:endParaRPr lang="en-US" altLang="zh-CN" sz="16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调整剂量</a:t>
                      </a:r>
                      <a:endParaRPr lang="en-US" altLang="zh-CN" sz="16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AEC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500" b="1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根据抗凝血酶水平调整</a:t>
                      </a:r>
                      <a:endParaRPr lang="en-US" altLang="zh-CN" sz="1500" b="1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500" b="1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</a:t>
                      </a:r>
                      <a:r>
                        <a:rPr lang="en-US" altLang="zh-CN" sz="1500" b="1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mg/50mg</a:t>
                      </a:r>
                      <a:r>
                        <a:rPr lang="zh-CN" altLang="en-US" sz="1500" b="1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  <a:endParaRPr lang="en-US" altLang="zh-CN" sz="1500" b="1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AEC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需根据体重</a:t>
                      </a:r>
                      <a:endParaRPr lang="en-US" altLang="zh-CN" sz="16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调整剂量</a:t>
                      </a:r>
                      <a:endParaRPr lang="en-US" altLang="zh-CN" sz="16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AEC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9028586"/>
                  </a:ext>
                </a:extLst>
              </a:tr>
              <a:tr h="1332000">
                <a:tc>
                  <a:txBody>
                    <a:bodyPr/>
                    <a:lstStyle/>
                    <a:p>
                      <a:r>
                        <a:rPr lang="zh-CN" altLang="en-US" sz="18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便利性</a:t>
                      </a:r>
                    </a:p>
                  </a:txBody>
                  <a:tcPr marL="36000" marR="36000" marT="36000" marB="36000"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3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8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需监测</a:t>
                      </a:r>
                      <a:endParaRPr lang="en-US" altLang="zh-CN" sz="18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indent="0" algn="ctr">
                        <a:lnSpc>
                          <a:spcPct val="13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8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需根据体重</a:t>
                      </a:r>
                      <a:r>
                        <a:rPr lang="en-US" altLang="zh-CN" sz="18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</a:p>
                    <a:p>
                      <a:pPr marL="0" indent="0" algn="ctr">
                        <a:lnSpc>
                          <a:spcPct val="13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8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抗凝血酶调整</a:t>
                      </a:r>
                      <a:endParaRPr lang="en-US" altLang="zh-CN" sz="18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BF7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频繁穿刺，静脉负担重；</a:t>
                      </a:r>
                      <a:endParaRPr lang="en-US" altLang="zh-CN" sz="16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用量计算复杂，医保难管理</a:t>
                      </a:r>
                      <a:endParaRPr lang="en-US" altLang="zh-CN" sz="16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AEC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1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抗凝血酶</a:t>
                      </a:r>
                      <a:r>
                        <a:rPr lang="en-US" altLang="zh-CN" sz="1600" b="1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&lt;15%</a:t>
                      </a:r>
                      <a:r>
                        <a:rPr lang="zh-CN" altLang="en-US" sz="1600" b="1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增加血栓风险</a:t>
                      </a:r>
                      <a:endParaRPr lang="en-US" altLang="zh-CN" sz="1600" b="1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需停药或降低给药剂量）</a:t>
                      </a:r>
                      <a:endParaRPr lang="en-US" altLang="zh-CN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1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抗凝血酶</a:t>
                      </a:r>
                      <a:r>
                        <a:rPr lang="en-US" altLang="zh-CN" sz="1600" b="1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&gt;35%</a:t>
                      </a:r>
                      <a:r>
                        <a:rPr lang="zh-CN" altLang="en-US" sz="1600" b="1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出血控制效果不满意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需增加给药频次）</a:t>
                      </a:r>
                      <a:endParaRPr lang="en-US" altLang="zh-CN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AEC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存在剂量浪费</a:t>
                      </a:r>
                      <a:endParaRPr lang="en-US" altLang="zh-CN" sz="16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AEC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937105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r>
                        <a:rPr lang="zh-CN" altLang="en-US" sz="18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给药频次</a:t>
                      </a:r>
                    </a:p>
                  </a:txBody>
                  <a:tcPr marL="36000" marR="36000" marT="36000" marB="36000" anchor="ctr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3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周一次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BF7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根据出血频率和部位调整</a:t>
                      </a:r>
                      <a:endParaRPr lang="en-US" altLang="zh-CN" sz="16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0-100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次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）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AEC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5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每</a:t>
                      </a:r>
                      <a:r>
                        <a:rPr lang="en-US" altLang="zh-CN" sz="15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-2</a:t>
                      </a:r>
                      <a:r>
                        <a:rPr lang="zh-CN" altLang="en-US" sz="15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月一次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5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每</a:t>
                      </a:r>
                      <a:r>
                        <a:rPr lang="en-US" altLang="zh-CN" sz="15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-4</a:t>
                      </a:r>
                      <a:r>
                        <a:rPr lang="zh-CN" altLang="en-US" sz="15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周一次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407947"/>
                  </a:ext>
                </a:extLst>
              </a:tr>
            </a:tbl>
          </a:graphicData>
        </a:graphic>
      </p:graphicFrame>
      <p:pic>
        <p:nvPicPr>
          <p:cNvPr id="2" name="图片 1">
            <a:extLst>
              <a:ext uri="{FF2B5EF4-FFF2-40B4-BE49-F238E27FC236}">
                <a16:creationId xmlns:a16="http://schemas.microsoft.com/office/drawing/2014/main" id="{62464AFE-2F81-DD4D-4940-8626E2F711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9785" y="1486172"/>
            <a:ext cx="418380" cy="542296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E82704C-EE89-F43E-1650-80F427C6A49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8052" t="17449" r="11279" b="17100"/>
          <a:stretch>
            <a:fillRect/>
          </a:stretch>
        </p:blipFill>
        <p:spPr>
          <a:xfrm>
            <a:off x="2672541" y="1558743"/>
            <a:ext cx="592154" cy="469725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1D3F9DB8-5C34-6DA9-734A-C8CD661E381C}"/>
              </a:ext>
            </a:extLst>
          </p:cNvPr>
          <p:cNvSpPr/>
          <p:nvPr/>
        </p:nvSpPr>
        <p:spPr bwMode="gray">
          <a:xfrm>
            <a:off x="347738" y="0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便利性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7D21750-BB37-30BF-7E4E-9E3CE7931974}"/>
              </a:ext>
            </a:extLst>
          </p:cNvPr>
          <p:cNvSpPr txBox="1"/>
          <p:nvPr/>
        </p:nvSpPr>
        <p:spPr bwMode="gray">
          <a:xfrm>
            <a:off x="2160000" y="6336000"/>
            <a:ext cx="85137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88900" lvl="0" indent="-88900">
              <a:buFont typeface="+mj-lt"/>
              <a:buAutoNum type="arabicPeriod"/>
              <a:defRPr sz="500" kern="100">
                <a:effectLst/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马塔西单抗注射液说明书</a:t>
            </a:r>
            <a:endParaRPr lang="en-US" altLang="zh-CN" dirty="0"/>
          </a:p>
          <a:p>
            <a:r>
              <a:rPr lang="zh-CN" altLang="en-US" dirty="0"/>
              <a:t>重组人凝血因子</a:t>
            </a:r>
            <a:r>
              <a:rPr lang="en-US" altLang="zh-CN" dirty="0"/>
              <a:t>VIII</a:t>
            </a:r>
            <a:r>
              <a:rPr lang="zh-CN" altLang="en-US" dirty="0"/>
              <a:t>注射液说明书</a:t>
            </a:r>
            <a:endParaRPr lang="en-US" altLang="zh-CN" dirty="0"/>
          </a:p>
          <a:p>
            <a:r>
              <a:rPr lang="zh-CN" altLang="en-US" dirty="0"/>
              <a:t>芬妥司兰钠注射液说明书</a:t>
            </a:r>
            <a:endParaRPr lang="en-US" altLang="zh-CN" dirty="0"/>
          </a:p>
          <a:p>
            <a:r>
              <a:rPr lang="zh-CN" altLang="en-US" dirty="0"/>
              <a:t>艾美赛珠单抗注射液说明书</a:t>
            </a:r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41595686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07462C-D7C5-175C-A16B-F6C9F181D4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E6A14181-0811-6254-4B6A-FFFB3BDAB53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812710"/>
              </p:ext>
            </p:ext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E6A14181-0811-6254-4B6A-FFFB3BDAB5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" name="矩形 480">
            <a:extLst>
              <a:ext uri="{FF2B5EF4-FFF2-40B4-BE49-F238E27FC236}">
                <a16:creationId xmlns:a16="http://schemas.microsoft.com/office/drawing/2014/main" id="{7C2312C5-08A5-53D2-ADDE-50081F0CAD35}"/>
              </a:ext>
            </a:extLst>
          </p:cNvPr>
          <p:cNvSpPr/>
          <p:nvPr/>
        </p:nvSpPr>
        <p:spPr bwMode="gray">
          <a:xfrm>
            <a:off x="9524710" y="-1"/>
            <a:ext cx="2664116" cy="3699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马塔西单抗注射液</a:t>
            </a:r>
          </a:p>
        </p:txBody>
      </p:sp>
      <p:sp>
        <p:nvSpPr>
          <p:cNvPr id="9" name="标题 4">
            <a:extLst>
              <a:ext uri="{FF2B5EF4-FFF2-40B4-BE49-F238E27FC236}">
                <a16:creationId xmlns:a16="http://schemas.microsoft.com/office/drawing/2014/main" id="{0C5D2AA4-1124-FD51-B4E4-C3B3C7E08FB0}"/>
              </a:ext>
            </a:extLst>
          </p:cNvPr>
          <p:cNvSpPr txBox="1">
            <a:spLocks/>
          </p:cNvSpPr>
          <p:nvPr/>
        </p:nvSpPr>
        <p:spPr bwMode="gray">
          <a:xfrm>
            <a:off x="446798" y="484632"/>
            <a:ext cx="11415002" cy="74091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defPPr>
              <a:defRPr lang="en-US"/>
            </a:defPPr>
            <a:lvl1pPr>
              <a:lnSpc>
                <a:spcPct val="120000"/>
              </a:lnSpc>
              <a:spcBef>
                <a:spcPts val="0"/>
              </a:spcBef>
              <a:buNone/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en-US" sz="2200" dirty="0">
                <a:solidFill>
                  <a:schemeClr val="accent1"/>
                </a:solidFill>
              </a:rPr>
              <a:t>公平性</a:t>
            </a:r>
            <a:r>
              <a:rPr lang="zh-CN" altLang="en-US" sz="2200" dirty="0"/>
              <a:t>方面，</a:t>
            </a:r>
            <a:r>
              <a:rPr lang="zh-CN" altLang="en-US" sz="2200" dirty="0">
                <a:solidFill>
                  <a:schemeClr val="accent1"/>
                </a:solidFill>
              </a:rPr>
              <a:t>填补目录内非因子药物的空白</a:t>
            </a:r>
            <a:r>
              <a:rPr lang="zh-CN" altLang="en-US" sz="2200" dirty="0"/>
              <a:t>、带来突破疗效；每周一次、</a:t>
            </a:r>
            <a:r>
              <a:rPr lang="zh-CN" altLang="en-US" sz="2200" dirty="0">
                <a:solidFill>
                  <a:schemeClr val="accent1"/>
                </a:solidFill>
              </a:rPr>
              <a:t>固定剂量</a:t>
            </a:r>
            <a:r>
              <a:rPr lang="zh-CN" altLang="en-US" sz="2200" dirty="0"/>
              <a:t>给药，全年标准用量</a:t>
            </a:r>
            <a:r>
              <a:rPr lang="en-US" altLang="zh-CN" sz="2200" dirty="0"/>
              <a:t>52</a:t>
            </a:r>
            <a:r>
              <a:rPr lang="zh-CN" altLang="en-US" sz="2200" dirty="0"/>
              <a:t>支，</a:t>
            </a:r>
            <a:r>
              <a:rPr lang="zh-CN" altLang="en-US" sz="2200" dirty="0">
                <a:solidFill>
                  <a:schemeClr val="accent1"/>
                </a:solidFill>
              </a:rPr>
              <a:t>费用可控可预期，医保好管理</a:t>
            </a:r>
            <a:endParaRPr lang="en-US" altLang="zh-CN" sz="2200" dirty="0">
              <a:solidFill>
                <a:schemeClr val="accent1"/>
              </a:solidFill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47D4E149-F0E9-F89C-32C6-970FA193449A}"/>
              </a:ext>
            </a:extLst>
          </p:cNvPr>
          <p:cNvSpPr/>
          <p:nvPr/>
        </p:nvSpPr>
        <p:spPr bwMode="gray">
          <a:xfrm>
            <a:off x="446799" y="1518396"/>
            <a:ext cx="1520546" cy="823962"/>
          </a:xfrm>
          <a:prstGeom prst="roundRect">
            <a:avLst>
              <a:gd name="adj" fmla="val 7712"/>
            </a:avLst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公共健康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影响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9B4A1494-0DCF-CA45-368E-F525C16191D8}"/>
              </a:ext>
            </a:extLst>
          </p:cNvPr>
          <p:cNvSpPr/>
          <p:nvPr/>
        </p:nvSpPr>
        <p:spPr bwMode="gray">
          <a:xfrm>
            <a:off x="2030279" y="1516344"/>
            <a:ext cx="9711747" cy="825327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fontAlgn="base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显著降低出血（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从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2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次降至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2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3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-2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且实现稳定持续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零出血</a:t>
            </a:r>
            <a:r>
              <a:rPr lang="en-US" altLang="zh-CN" sz="13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保护关节，显著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避免残疾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助力患者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回归社会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助力实现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健康中国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30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划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于残疾预防的重大战略目标</a:t>
            </a:r>
            <a:endParaRPr lang="en-US" altLang="zh-CN" sz="1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3CA96D11-5A60-FE33-BE0E-D02D85935739}"/>
              </a:ext>
            </a:extLst>
          </p:cNvPr>
          <p:cNvSpPr/>
          <p:nvPr/>
        </p:nvSpPr>
        <p:spPr bwMode="gray">
          <a:xfrm>
            <a:off x="446799" y="2449549"/>
            <a:ext cx="1520546" cy="1284241"/>
          </a:xfrm>
          <a:prstGeom prst="roundRect">
            <a:avLst>
              <a:gd name="adj" fmla="val 7712"/>
            </a:avLst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6000" tIns="45715" rIns="36000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弥补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保目录短板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3C3BA986-2823-9460-35A4-815B5FC9EF19}"/>
              </a:ext>
            </a:extLst>
          </p:cNvPr>
          <p:cNvSpPr/>
          <p:nvPr/>
        </p:nvSpPr>
        <p:spPr bwMode="gray">
          <a:xfrm>
            <a:off x="2030279" y="2444571"/>
            <a:ext cx="9711747" cy="1286368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fontAlgn="base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50000"/>
              <a:buFont typeface="Arial" panose="020B0604020202020204" pitchFamily="34" charset="0"/>
              <a:buChar char="•"/>
            </a:pP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补医保目录内血友病非因子治疗药物空白</a:t>
            </a:r>
            <a:endParaRPr lang="en-US" altLang="zh-CN" sz="2400" b="1" dirty="0">
              <a:solidFill>
                <a:srgbClr val="C00000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弥补目录内无同时覆盖血友病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因子药物问题</a:t>
            </a:r>
            <a:endParaRPr lang="en-US" altLang="zh-CN" sz="13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弥补成人规律替代治疗不足的问题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有效衔接儿童血友病转向成人后的有效治疗，稳定降低出血、保护关节、避免残疾</a:t>
            </a:r>
            <a:endParaRPr lang="en-US" altLang="zh-CN" sz="1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ECF3A53E-264F-B4EA-44A0-4DFADD27FE9A}"/>
              </a:ext>
            </a:extLst>
          </p:cNvPr>
          <p:cNvSpPr/>
          <p:nvPr/>
        </p:nvSpPr>
        <p:spPr bwMode="gray">
          <a:xfrm>
            <a:off x="446798" y="3836690"/>
            <a:ext cx="1520546" cy="1257257"/>
          </a:xfrm>
          <a:prstGeom prst="roundRect">
            <a:avLst>
              <a:gd name="adj" fmla="val 4373"/>
            </a:avLst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符合保基本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原则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103CDB5-5E35-1CBA-8785-C0AA98C0D0DB}"/>
              </a:ext>
            </a:extLst>
          </p:cNvPr>
          <p:cNvSpPr/>
          <p:nvPr/>
        </p:nvSpPr>
        <p:spPr bwMode="gray">
          <a:xfrm>
            <a:off x="2030278" y="3832167"/>
            <a:ext cx="9711747" cy="1259340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fontAlgn="base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皮下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给药，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周一次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患者用药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便利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显著改善患者静脉负担重的问题</a:t>
            </a:r>
            <a:r>
              <a:rPr lang="en-US" altLang="zh-CN" sz="13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</a:p>
          <a:p>
            <a:pPr marL="171450" indent="-171450" fontAlgn="base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血友病纳入</a:t>
            </a:r>
            <a:r>
              <a: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一批罕见病目录</a:t>
            </a:r>
            <a:r>
              <a: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明确仅用于不伴抑制物的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型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血友病患者，</a:t>
            </a:r>
            <a:r>
              <a:rPr lang="zh-CN" altLang="en-US" sz="1300" b="1">
                <a:latin typeface="微软雅黑" panose="020B0503020204020204" pitchFamily="34" charset="-122"/>
                <a:ea typeface="微软雅黑" panose="020B0503020204020204" pitchFamily="34" charset="-122"/>
              </a:rPr>
              <a:t>患者数量有限</a:t>
            </a:r>
            <a:endParaRPr lang="en-US" altLang="zh-CN" sz="13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首个纳入</a:t>
            </a:r>
            <a:r>
              <a: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关爱计划”的药物，获批用于</a:t>
            </a:r>
            <a:r>
              <a: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岁以上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儿童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成人患者，临床急需</a:t>
            </a:r>
            <a:endParaRPr lang="en-US" altLang="zh-CN" sz="1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EC9C6A16-092C-1E8A-CFA0-D5856B68B9C2}"/>
              </a:ext>
            </a:extLst>
          </p:cNvPr>
          <p:cNvSpPr/>
          <p:nvPr/>
        </p:nvSpPr>
        <p:spPr bwMode="gray">
          <a:xfrm>
            <a:off x="446798" y="5200461"/>
            <a:ext cx="1520546" cy="932386"/>
          </a:xfrm>
          <a:prstGeom prst="roundRect">
            <a:avLst>
              <a:gd name="adj" fmla="val 7712"/>
            </a:avLst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临床管理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难度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FC40AA95-8E3F-6F2F-53DE-4D9B67AA0E0E}"/>
              </a:ext>
            </a:extLst>
          </p:cNvPr>
          <p:cNvSpPr/>
          <p:nvPr/>
        </p:nvSpPr>
        <p:spPr bwMode="gray">
          <a:xfrm>
            <a:off x="2030278" y="5196847"/>
            <a:ext cx="9711747" cy="933930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fontAlgn="base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仅限重型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血友病</a:t>
            </a:r>
            <a:r>
              <a: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/B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，临床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诊断明确</a:t>
            </a:r>
            <a:endParaRPr lang="en-US" altLang="zh-CN" sz="1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base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周一次，</a:t>
            </a: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固定剂量给药，药品费用可控可预期，便于医保管理</a:t>
            </a:r>
            <a:endParaRPr lang="en-US" altLang="zh-CN" sz="2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6243A5F-C65C-1134-0F3D-17C43FB9E4FF}"/>
              </a:ext>
            </a:extLst>
          </p:cNvPr>
          <p:cNvSpPr txBox="1"/>
          <p:nvPr/>
        </p:nvSpPr>
        <p:spPr bwMode="gray">
          <a:xfrm>
            <a:off x="2160000" y="6336000"/>
            <a:ext cx="85137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88900" lvl="0" indent="-88900">
              <a:buFont typeface="+mj-lt"/>
              <a:buAutoNum type="arabicPeriod"/>
              <a:defRPr sz="500" kern="100">
                <a:effectLst/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Zhang L, Zhang P, Chen W. Overview of Patients with Hemophilia in China: Demographics, Diseases, Treatment, and Health Status. Patient Prefer Adherence. 2024 Jan 13;18:101-109</a:t>
            </a:r>
          </a:p>
          <a:p>
            <a:r>
              <a:rPr lang="en-US" altLang="zh-CN" dirty="0"/>
              <a:t>Matino D, et al., Marstacimab prophylaxis in hemophilia A/B without inhibitors: results from the phase 3 BASIS trial. Blood. 2025 Oct 2;146(14):1654-1663.</a:t>
            </a:r>
          </a:p>
          <a:p>
            <a:r>
              <a:rPr lang="en-US" altLang="zh-CN" dirty="0"/>
              <a:t>Matino D, et al., Long-term efficacy of Marstacimab in Adults and Adolescents with Severe Hemophilia A or B without inhibitors who completed the BASIS trial, 33rd Congress of the International Society on Thrombosis and Haemostasias (ISTH), June 21-25 2025, Washington DC, USA</a:t>
            </a:r>
          </a:p>
          <a:p>
            <a:r>
              <a:rPr lang="zh-CN" altLang="en-US" dirty="0"/>
              <a:t>马塔西单抗注射液说明书</a:t>
            </a:r>
            <a:endParaRPr lang="zh-CN" altLang="zh-CN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FDD359F-FA2F-B2C8-AFAC-AAD971FAF617}"/>
              </a:ext>
            </a:extLst>
          </p:cNvPr>
          <p:cNvSpPr/>
          <p:nvPr/>
        </p:nvSpPr>
        <p:spPr bwMode="gray">
          <a:xfrm>
            <a:off x="347738" y="0"/>
            <a:ext cx="1908000" cy="3236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性（一）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4649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6"/>
  <p:tag name="THINKCELLUNDODONOTDELETE" val="0"/>
  <p:tag name="THINKCELLPRESENTATIONDONOTDELETE" val="&lt;?xml version=&quot;1.0&quot; encoding=&quot;UTF-16&quot; standalone=&quot;yes&quot;?&gt;&lt;root reqver=&quot;32687&quot;&gt;&lt;version val=&quot;38652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4.48207041295168995276E+00&quot;&gt;&lt;m_msothmcolidx val=&quot;0&quot;/&gt;&lt;m_rgb r=&quot;99&quot; g=&quot;D5&quot; b=&quot;FF&quot;/&gt;&lt;/elem&gt;&lt;elem m_fUsage=&quot;3.19713000252839396609E+00&quot;&gt;&lt;m_msothmcolidx val=&quot;0&quot;/&gt;&lt;m_rgb r=&quot;00&quot; g=&quot;47&quot; b=&quot;BB&quot;/&gt;&lt;/elem&gt;&lt;elem m_fUsage=&quot;1.07324038601226368073E+00&quot;&gt;&lt;m_msothmcolidx val=&quot;0&quot;/&gt;&lt;m_rgb r=&quot;88&quot; g=&quot;E3&quot; b=&quot;FF&quot;/&gt;&lt;/elem&gt;&lt;elem m_fUsage=&quot;8.10000000000000053291E-01&quot;&gt;&lt;m_msothmcolidx val=&quot;0&quot;/&gt;&lt;m_rgb r=&quot;C0&quot; g=&quot;00&quot; b=&quot;00&quot;/&gt;&lt;/elem&gt;&lt;elem m_fUsage=&quot;3.95275656211278969554E-01&quot;&gt;&lt;m_msothmcolidx val=&quot;0&quot;/&gt;&lt;m_rgb r=&quot;71&quot; g=&quot;CC&quot; b=&quot;FF&quot;/&gt;&lt;/elem&gt;&lt;elem m_fUsage=&quot;3.61020624461406008932E-02&quot;&gt;&lt;m_msothmcolidx val=&quot;0&quot;/&gt;&lt;m_rgb r=&quot;CC&quot; g=&quot;EA&quot; b=&quot;FF&quot;/&gt;&lt;/elem&gt;&lt;elem m_fUsage=&quot;4.21520934547830235933E-03&quot;&gt;&lt;m_msothmcolidx val=&quot;0&quot;/&gt;&lt;m_rgb r=&quot;BA&quot; g=&quot;BA&quot; b=&quot;BA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8cFThVU8xlssiKvqf60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nv5XtqVFr2NOwON4RQz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oTCTc8SJYUtFYoiCCj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U8hdgBnV7P1mxKr1YYF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.8ORYljfj8_deG3yoM4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h117rKmaI5KIwbwUq8m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aR4yWVDkD2GII.aqa6C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.1qZCV9onyf1R32rZaF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l57aLfUQT8CcVpeHW5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97570HxlPbmz_X9siW8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D8yf7sK1R9Oz7o0Mla8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K4xFzS4J0mFbf2.oKXc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xMvN3gqie5VLoXuilJ9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7LXwLKCWpE1sbsZg1GS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EnyXYxJFDjUMtyoN3ua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rlKxhbZsRitjHgNBYMn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9T62EOuVU4IR0m0iLES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.KoyPCaxDPf6MTKlbtt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poii3JFe0u9qos_iP9.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43npJ6fuHaS91u.OLt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OfyouZzsLC_cCv7_tcR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S4XP0kmIPpbkgVq7F65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KB0ybfXnuyAJ0spFsbm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f9G0KzgizlK9zf38T75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2.xml><?xml version="1.0" encoding="utf-8"?>
<a:theme xmlns:a="http://schemas.openxmlformats.org/drawingml/2006/main" name="2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3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B08942DD6B8045AC88B035B51DC098" ma:contentTypeVersion="14" ma:contentTypeDescription="Create a new document." ma:contentTypeScope="" ma:versionID="0e4ff9539a3ccca135015b3ceed81fdc">
  <xsd:schema xmlns:xsd="http://www.w3.org/2001/XMLSchema" xmlns:xs="http://www.w3.org/2001/XMLSchema" xmlns:p="http://schemas.microsoft.com/office/2006/metadata/properties" xmlns:ns3="e388dc96-09dd-4309-a66d-d1b07d928e2f" xmlns:ns4="05a7bc01-f129-4656-b3a6-97a7d27c4c0a" targetNamespace="http://schemas.microsoft.com/office/2006/metadata/properties" ma:root="true" ma:fieldsID="12b0c41d69098913fc4f82f8edcd35c0" ns3:_="" ns4:_="">
    <xsd:import namespace="e388dc96-09dd-4309-a66d-d1b07d928e2f"/>
    <xsd:import namespace="05a7bc01-f129-4656-b3a6-97a7d27c4c0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88dc96-09dd-4309-a66d-d1b07d928e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a7bc01-f129-4656-b3a6-97a7d27c4c0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D6AF324-20B8-43AE-8057-0DF672E583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88dc96-09dd-4309-a66d-d1b07d928e2f"/>
    <ds:schemaRef ds:uri="05a7bc01-f129-4656-b3a6-97a7d27c4c0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25620F8-902D-466A-B4E6-A592A8096A60}">
  <ds:schemaRefs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purl.org/dc/elements/1.1/"/>
    <ds:schemaRef ds:uri="05a7bc01-f129-4656-b3a6-97a7d27c4c0a"/>
    <ds:schemaRef ds:uri="e388dc96-09dd-4309-a66d-d1b07d928e2f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B255E0C5-C017-4A51-A228-651151AC02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067</TotalTime>
  <Words>2734</Words>
  <Application>Microsoft Office PowerPoint</Application>
  <PresentationFormat>自定义</PresentationFormat>
  <Paragraphs>266</Paragraphs>
  <Slides>9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7" baseType="lpstr">
      <vt:lpstr>黑体</vt:lpstr>
      <vt:lpstr>微软雅黑</vt:lpstr>
      <vt:lpstr>Arial</vt:lpstr>
      <vt:lpstr>Arial Narrow</vt:lpstr>
      <vt:lpstr>Wingdings</vt:lpstr>
      <vt:lpstr>1_Office Theme</vt:lpstr>
      <vt:lpstr>2_Office Theme</vt:lpstr>
      <vt:lpstr>think-cell 幻灯片</vt:lpstr>
      <vt:lpstr>PowerPoint 演示文稿</vt:lpstr>
      <vt:lpstr>目录</vt:lpstr>
      <vt:lpstr>马塔西单抗是全新机制的1类新药，用于重型血友病A/B患者，填补目录内非因子药物的空白，带来突破性疗效，建议参照药为空白，建议评级为突破</vt:lpstr>
      <vt:lpstr>未满足需求：成人血友病患者仍以出血后治疗为主，导致频繁出血，年化出血率高达52次，30岁以上残疾率高达90%，经济负担重，医保管理难度高，需更有效、更经济的治疗药物</vt:lpstr>
      <vt:lpstr>创新性方面，创新凝血再平衡机制，靶向阻断TFPI对凝血因子的抑制作用，恢复血友病患者凝血功能，带来突破性疗效、更优安全性和显著便利性。关键三期研究未发生血栓事件</vt:lpstr>
      <vt:lpstr>PowerPoint 演示文稿</vt:lpstr>
      <vt:lpstr>PowerPoint 演示文稿</vt:lpstr>
      <vt:lpstr>PowerPoint 演示文稿</vt:lpstr>
      <vt:lpstr>PowerPoint 演示文稿</vt:lpstr>
    </vt:vector>
  </TitlesOfParts>
  <Company>O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>v365</dc:subject>
  <dc:creator>Bo, Yiwei</dc:creator>
  <dc:description>P113901_Pfizer PowerPoint Template _Logo_Confidential_16x9</dc:description>
  <cp:lastModifiedBy>NA, LINNA</cp:lastModifiedBy>
  <cp:revision>39</cp:revision>
  <cp:lastPrinted>2026-06-04T09:29:36Z</cp:lastPrinted>
  <dcterms:created xsi:type="dcterms:W3CDTF">2021-06-22T09:02:09Z</dcterms:created>
  <dcterms:modified xsi:type="dcterms:W3CDTF">2026-06-05T04:5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D1316AA-ADAB-409D-BAE3-6BC0F6AF696D</vt:lpwstr>
  </property>
  <property fmtid="{D5CDD505-2E9C-101B-9397-08002B2CF9AE}" pid="3" name="ArticulatePath">
    <vt:lpwstr>Template-Template_v2007-10_2Dcharts_FLAT BOX_111213_445pm</vt:lpwstr>
  </property>
  <property fmtid="{D5CDD505-2E9C-101B-9397-08002B2CF9AE}" pid="4" name="ContentTypeId">
    <vt:lpwstr>0x0101002EB08942DD6B8045AC88B035B51DC098</vt:lpwstr>
  </property>
  <property fmtid="{D5CDD505-2E9C-101B-9397-08002B2CF9AE}" pid="5" name="MSIP_Label_4791b42f-c435-42ca-9531-75a3f42aae3d_Enabled">
    <vt:lpwstr>true</vt:lpwstr>
  </property>
  <property fmtid="{D5CDD505-2E9C-101B-9397-08002B2CF9AE}" pid="6" name="MSIP_Label_4791b42f-c435-42ca-9531-75a3f42aae3d_SetDate">
    <vt:lpwstr>2023-04-24T02:56:50Z</vt:lpwstr>
  </property>
  <property fmtid="{D5CDD505-2E9C-101B-9397-08002B2CF9AE}" pid="7" name="MSIP_Label_4791b42f-c435-42ca-9531-75a3f42aae3d_Method">
    <vt:lpwstr>Privileged</vt:lpwstr>
  </property>
  <property fmtid="{D5CDD505-2E9C-101B-9397-08002B2CF9AE}" pid="8" name="MSIP_Label_4791b42f-c435-42ca-9531-75a3f42aae3d_Name">
    <vt:lpwstr>4791b42f-c435-42ca-9531-75a3f42aae3d</vt:lpwstr>
  </property>
  <property fmtid="{D5CDD505-2E9C-101B-9397-08002B2CF9AE}" pid="9" name="MSIP_Label_4791b42f-c435-42ca-9531-75a3f42aae3d_SiteId">
    <vt:lpwstr>7a916015-20ae-4ad1-9170-eefd915e9272</vt:lpwstr>
  </property>
  <property fmtid="{D5CDD505-2E9C-101B-9397-08002B2CF9AE}" pid="10" name="MSIP_Label_4791b42f-c435-42ca-9531-75a3f42aae3d_ActionId">
    <vt:lpwstr>fddf4b7f-f487-4670-b60d-53f5e75b26ab</vt:lpwstr>
  </property>
  <property fmtid="{D5CDD505-2E9C-101B-9397-08002B2CF9AE}" pid="11" name="MSIP_Label_4791b42f-c435-42ca-9531-75a3f42aae3d_ContentBits">
    <vt:lpwstr>0</vt:lpwstr>
  </property>
</Properties>
</file>